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77" r:id="rId2"/>
  </p:sldMasterIdLst>
  <p:notesMasterIdLst>
    <p:notesMasterId r:id="rId8"/>
  </p:notesMasterIdLst>
  <p:sldIdLst>
    <p:sldId id="838840814" r:id="rId3"/>
    <p:sldId id="838840810" r:id="rId4"/>
    <p:sldId id="838840815" r:id="rId5"/>
    <p:sldId id="838840818" r:id="rId6"/>
    <p:sldId id="838840813" r:id="rId7"/>
  </p:sldIdLst>
  <p:sldSz cx="12192000" cy="6858000"/>
  <p:notesSz cx="6858000" cy="9144000"/>
  <p:custDataLst>
    <p:tags r:id="rId9"/>
  </p:custDataLst>
  <p:defaultTextStyle>
    <a:defPPr>
      <a:defRPr lang="en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/>
    <p:restoredTop sz="94719"/>
  </p:normalViewPr>
  <p:slideViewPr>
    <p:cSldViewPr snapToGrid="0">
      <p:cViewPr varScale="1">
        <p:scale>
          <a:sx n="148" d="100"/>
          <a:sy n="148" d="100"/>
        </p:scale>
        <p:origin x="84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B7DA4C-EC1C-B745-BAAD-57171FA84435}" type="datetimeFigureOut">
              <a:rPr lang="da-DK" smtClean="0"/>
              <a:t>27.03.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3B156-2DAC-8F4F-87CB-E58D25F40AA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66957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976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7131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5029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133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2663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6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3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oleObject" Target="../embeddings/oleObject19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6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6.bin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1927328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506051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688490"/>
            <a:ext cx="10363200" cy="81756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4243457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47215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399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399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399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17A48F-D994-4545-B295-8EE8A5B2135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037600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9" name="Pladsholder til tekst 3">
            <a:extLst>
              <a:ext uri="{FF2B5EF4-FFF2-40B4-BE49-F238E27FC236}">
                <a16:creationId xmlns:a16="http://schemas.microsoft.com/office/drawing/2014/main" id="{3CD64D60-5E84-7243-BF34-2F2188953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37600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8FD379B-FB93-9441-B85B-2A8E307B6C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37600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75999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75999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75999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330408561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7089782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0242468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9744862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9865411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723948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217349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544342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8870332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3174"/>
            <a:ext cx="12185335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36524950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4"/>
            <a:ext cx="12185333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104446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0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400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FDD04CEF-7D9C-8948-BB80-84CBD6883B2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36415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3" name="Pladsholder til tekst 3">
            <a:extLst>
              <a:ext uri="{FF2B5EF4-FFF2-40B4-BE49-F238E27FC236}">
                <a16:creationId xmlns:a16="http://schemas.microsoft.com/office/drawing/2014/main" id="{5A670000-BB61-BA43-9264-CF80E8D587F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36415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4" name="Pladsholder til tekst 3">
            <a:extLst>
              <a:ext uri="{FF2B5EF4-FFF2-40B4-BE49-F238E27FC236}">
                <a16:creationId xmlns:a16="http://schemas.microsoft.com/office/drawing/2014/main" id="{510D0D61-2A94-C641-AF7F-1939034B0E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36415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EEF1836-630A-ED4C-AA72-492EBBF1F1D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158429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6" name="Pladsholder til tekst 3">
            <a:extLst>
              <a:ext uri="{FF2B5EF4-FFF2-40B4-BE49-F238E27FC236}">
                <a16:creationId xmlns:a16="http://schemas.microsoft.com/office/drawing/2014/main" id="{60A7BF55-D661-1B49-A75A-2AFEC993E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58429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7" name="Pladsholder til tekst 3">
            <a:extLst>
              <a:ext uri="{FF2B5EF4-FFF2-40B4-BE49-F238E27FC236}">
                <a16:creationId xmlns:a16="http://schemas.microsoft.com/office/drawing/2014/main" id="{A7183FB7-2D78-0549-8399-95B2098D9D6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58429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C3DE3EA4-C122-6240-AC72-734A6ED03D18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780444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9" name="Pladsholder til tekst 3">
            <a:extLst>
              <a:ext uri="{FF2B5EF4-FFF2-40B4-BE49-F238E27FC236}">
                <a16:creationId xmlns:a16="http://schemas.microsoft.com/office/drawing/2014/main" id="{4FA0CD1F-D261-4842-9F8D-2C88F5579B0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80444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40" name="Pladsholder til tekst 3">
            <a:extLst>
              <a:ext uri="{FF2B5EF4-FFF2-40B4-BE49-F238E27FC236}">
                <a16:creationId xmlns:a16="http://schemas.microsoft.com/office/drawing/2014/main" id="{BB55047B-EB92-F94B-92A8-D91C9C2BCC1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80444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48478800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5"/>
            <a:ext cx="12185333" cy="685424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3710313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7DC1A101-C4D9-A546-96D4-D7FAD68CA96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46924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E5C58D9B-5A43-B947-A80D-165D5224DA9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381274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594777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anchor="ctr" anchorCtr="0"/>
          <a:lstStyle>
            <a:lvl1pPr algn="r">
              <a:defRPr sz="900">
                <a:solidFill>
                  <a:srgbClr val="004454"/>
                </a:solidFill>
                <a:latin typeface="+mn-lt"/>
              </a:defRPr>
            </a:lvl1pPr>
          </a:lstStyle>
          <a:p>
            <a:fld id="{892EE196-DDA1-41FD-83E0-096904DE06E3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352240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5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a-DK" sz="3100" b="1" i="0" baseline="0">
              <a:latin typeface="Arial" panose="020B0604020202020204" pitchFamily="34" charset="0"/>
              <a:cs typeface="Open Sans Light" panose="020B060402020202020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1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" name="Rectangle 11"/>
          <p:cNvSpPr/>
          <p:nvPr userDrawn="1"/>
        </p:nvSpPr>
        <p:spPr>
          <a:xfrm>
            <a:off x="0" y="1736726"/>
            <a:ext cx="12192000" cy="4321174"/>
          </a:xfrm>
          <a:prstGeom prst="rect">
            <a:avLst/>
          </a:prstGeom>
          <a:solidFill>
            <a:srgbClr val="E5E5E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18099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KU 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 txBox="1">
            <a:spLocks noGrp="1"/>
          </p:cNvSpPr>
          <p:nvPr>
            <p:ph type="body" idx="4294967295"/>
          </p:nvPr>
        </p:nvSpPr>
        <p:spPr>
          <a:xfrm>
            <a:off x="914400" y="688580"/>
            <a:ext cx="10363196" cy="859846"/>
          </a:xfrm>
        </p:spPr>
        <p:txBody>
          <a:bodyPr/>
          <a:lstStyle>
            <a:lvl1pPr marL="0" indent="0">
              <a:buNone/>
              <a:defRPr sz="3000" b="1"/>
            </a:lvl1pPr>
          </a:lstStyle>
          <a:p>
            <a:pPr lvl="0"/>
            <a:r>
              <a:rPr lang="da-DK"/>
              <a:t>Klik for at redigere i overskrift</a:t>
            </a:r>
          </a:p>
        </p:txBody>
      </p:sp>
      <p:sp>
        <p:nvSpPr>
          <p:cNvPr id="3" name="Title Placeholder 1"/>
          <p:cNvSpPr txBox="1">
            <a:spLocks noGrp="1"/>
          </p:cNvSpPr>
          <p:nvPr>
            <p:ph type="title"/>
          </p:nvPr>
        </p:nvSpPr>
        <p:spPr>
          <a:xfrm>
            <a:off x="914400" y="456286"/>
            <a:ext cx="10363196" cy="211921"/>
          </a:xfrm>
        </p:spPr>
        <p:txBody>
          <a:bodyPr wrap="none" anchorCtr="0"/>
          <a:lstStyle>
            <a:lvl1pPr algn="l">
              <a:defRPr sz="1000" b="0"/>
            </a:lvl1pPr>
          </a:lstStyle>
          <a:p>
            <a:pPr lvl="0"/>
            <a:r>
              <a:rPr lang="da-DK"/>
              <a:t>Klik for at redigere i tracker</a:t>
            </a:r>
          </a:p>
        </p:txBody>
      </p:sp>
      <p:sp>
        <p:nvSpPr>
          <p:cNvPr id="4" name="Pladsholder til slidenummer 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E530F1A-E148-45AD-9E51-893326BE722B}" type="slidenum">
              <a:t>‹#›</a:t>
            </a:fld>
            <a:endParaRPr lang="da-DK"/>
          </a:p>
        </p:txBody>
      </p:sp>
      <p:sp>
        <p:nvSpPr>
          <p:cNvPr id="5" name="Pladsholder til sidefod 2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Sidefod på alle sider</a:t>
            </a:r>
          </a:p>
        </p:txBody>
      </p:sp>
    </p:spTree>
    <p:extLst>
      <p:ext uri="{BB962C8B-B14F-4D97-AF65-F5344CB8AC3E}">
        <p14:creationId xmlns:p14="http://schemas.microsoft.com/office/powerpoint/2010/main" val="1009559319"/>
      </p:ext>
    </p:extLst>
  </p:cSld>
  <p:clrMapOvr>
    <a:masterClrMapping/>
  </p:clrMapOvr>
  <p:hf sldNum="0"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23" indent="0" algn="ctr">
              <a:buNone/>
              <a:defRPr/>
            </a:lvl2pPr>
            <a:lvl3pPr marL="914446" indent="0" algn="ctr">
              <a:buNone/>
              <a:defRPr/>
            </a:lvl3pPr>
            <a:lvl4pPr marL="1371669" indent="0" algn="ctr">
              <a:buNone/>
              <a:defRPr/>
            </a:lvl4pPr>
            <a:lvl5pPr marL="1828891" indent="0" algn="ctr">
              <a:buNone/>
              <a:defRPr/>
            </a:lvl5pPr>
            <a:lvl6pPr marL="2286114" indent="0" algn="ctr">
              <a:buNone/>
              <a:defRPr/>
            </a:lvl6pPr>
            <a:lvl7pPr marL="2743337" indent="0" algn="ctr">
              <a:buNone/>
              <a:defRPr/>
            </a:lvl7pPr>
            <a:lvl8pPr marL="3200560" indent="0" algn="ctr">
              <a:buNone/>
              <a:defRPr/>
            </a:lvl8pPr>
            <a:lvl9pPr marL="3657783" indent="0" algn="ctr">
              <a:buNone/>
              <a:defRPr/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284168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888B9F-7A58-40FC-94C6-DE17AC819CA0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19689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1927328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506051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688490"/>
            <a:ext cx="10363200" cy="81756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4243457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14362164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708348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mær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048D68E5-2222-BD40-9A9A-A1FFEB057981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Primært indhold</a:t>
            </a:r>
          </a:p>
        </p:txBody>
      </p:sp>
    </p:spTree>
    <p:extLst>
      <p:ext uri="{BB962C8B-B14F-4D97-AF65-F5344CB8AC3E}">
        <p14:creationId xmlns:p14="http://schemas.microsoft.com/office/powerpoint/2010/main" val="13969996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0530721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27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8777347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19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5368183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53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99186796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06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93776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1736726"/>
            <a:ext cx="5181600" cy="4321175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86826842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3277515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830256"/>
            <a:ext cx="10363200" cy="10438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88094842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357608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357608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357608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594392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594392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94392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13080195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399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399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399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17A48F-D994-4545-B295-8EE8A5B2135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037600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9" name="Pladsholder til tekst 3">
            <a:extLst>
              <a:ext uri="{FF2B5EF4-FFF2-40B4-BE49-F238E27FC236}">
                <a16:creationId xmlns:a16="http://schemas.microsoft.com/office/drawing/2014/main" id="{3CD64D60-5E84-7243-BF34-2F2188953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37600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8FD379B-FB93-9441-B85B-2A8E307B6C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37600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75999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75999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75999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217092071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0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914400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FDD04CEF-7D9C-8948-BB80-84CBD6883B2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536415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3" name="Pladsholder til tekst 3">
            <a:extLst>
              <a:ext uri="{FF2B5EF4-FFF2-40B4-BE49-F238E27FC236}">
                <a16:creationId xmlns:a16="http://schemas.microsoft.com/office/drawing/2014/main" id="{5A670000-BB61-BA43-9264-CF80E8D587F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36415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4" name="Pladsholder til tekst 3">
            <a:extLst>
              <a:ext uri="{FF2B5EF4-FFF2-40B4-BE49-F238E27FC236}">
                <a16:creationId xmlns:a16="http://schemas.microsoft.com/office/drawing/2014/main" id="{510D0D61-2A94-C641-AF7F-1939034B0E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36415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EEF1836-630A-ED4C-AA72-492EBBF1F1D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158429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6" name="Pladsholder til tekst 3">
            <a:extLst>
              <a:ext uri="{FF2B5EF4-FFF2-40B4-BE49-F238E27FC236}">
                <a16:creationId xmlns:a16="http://schemas.microsoft.com/office/drawing/2014/main" id="{60A7BF55-D661-1B49-A75A-2AFEC993E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58429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7" name="Pladsholder til tekst 3">
            <a:extLst>
              <a:ext uri="{FF2B5EF4-FFF2-40B4-BE49-F238E27FC236}">
                <a16:creationId xmlns:a16="http://schemas.microsoft.com/office/drawing/2014/main" id="{A7183FB7-2D78-0549-8399-95B2098D9D6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58429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C3DE3EA4-C122-6240-AC72-734A6ED03D18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8780444" y="1736726"/>
            <a:ext cx="2489813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9" name="Pladsholder til tekst 3">
            <a:extLst>
              <a:ext uri="{FF2B5EF4-FFF2-40B4-BE49-F238E27FC236}">
                <a16:creationId xmlns:a16="http://schemas.microsoft.com/office/drawing/2014/main" id="{4FA0CD1F-D261-4842-9F8D-2C88F5579B0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780444" y="4589754"/>
            <a:ext cx="2489813" cy="522073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40" name="Pladsholder til tekst 3">
            <a:extLst>
              <a:ext uri="{FF2B5EF4-FFF2-40B4-BE49-F238E27FC236}">
                <a16:creationId xmlns:a16="http://schemas.microsoft.com/office/drawing/2014/main" id="{BB55047B-EB92-F94B-92A8-D91C9C2BCC1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80444" y="5255046"/>
            <a:ext cx="2489813" cy="797994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36492114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03670534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9877263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19888231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1831358"/>
            <a:ext cx="2796988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3990572"/>
            <a:ext cx="4646279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3992675"/>
            <a:ext cx="2796988" cy="18492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65172" y="4257910"/>
            <a:ext cx="2195929" cy="1380891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9048D62-3969-AF4F-9DFE-7CB99DD91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F939005-16F7-D242-90DC-BF9D655DFE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62781214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3990572"/>
            <a:ext cx="4794838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3990572"/>
            <a:ext cx="263562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3990572"/>
            <a:ext cx="2822600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E825661-551C-CB4A-BD64-F9F48E798F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2161DFB-9516-824E-931C-E348F1F9C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2952024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8"/>
            <a:ext cx="4646279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3990572"/>
            <a:ext cx="566825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09ED05-355F-704F-8078-D8FBCB80CC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ADA6362-6032-7B48-806D-EE79E20F90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47965916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09406694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14465273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6) Indhold - top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3587"/>
            <a:ext cx="12192000" cy="365074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74109B2-14F7-8C45-B436-1D932F43BA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20DAE04-02FA-FA4E-80B1-DEACAA8CA1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60E2045-251E-0C48-95E3-D254032436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4419600"/>
            <a:ext cx="9076800" cy="18389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1168313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7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370389123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8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197059160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9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19709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0) Indhold - Best prac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P-Animation" descr="BP-Animation">
            <a:hlinkClick r:id="" action="ppaction://media"/>
            <a:extLst>
              <a:ext uri="{FF2B5EF4-FFF2-40B4-BE49-F238E27FC236}">
                <a16:creationId xmlns:a16="http://schemas.microsoft.com/office/drawing/2014/main" id="{576F7D11-4E26-1B4C-A111-575C6B10466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30238"/>
          <a:stretch/>
        </p:blipFill>
        <p:spPr>
          <a:xfrm>
            <a:off x="3364255" y="184108"/>
            <a:ext cx="6319796" cy="3206422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976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2179800" y="22496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736726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E2741BB0-BC6E-D043-8C59-CE47B8FEEF7A}"/>
              </a:ext>
            </a:extLst>
          </p:cNvPr>
          <p:cNvGrpSpPr/>
          <p:nvPr userDrawn="1"/>
        </p:nvGrpSpPr>
        <p:grpSpPr>
          <a:xfrm>
            <a:off x="1308675" y="2156651"/>
            <a:ext cx="627088" cy="943015"/>
            <a:chOff x="1423875" y="4071849"/>
            <a:chExt cx="627088" cy="943015"/>
          </a:xfrm>
        </p:grpSpPr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A1BAD3C0-82BE-B54D-9145-1EB45E6DD52F}"/>
                </a:ext>
              </a:extLst>
            </p:cNvPr>
            <p:cNvSpPr txBox="1"/>
            <p:nvPr/>
          </p:nvSpPr>
          <p:spPr>
            <a:xfrm>
              <a:off x="1507224" y="4071849"/>
              <a:ext cx="543739" cy="9430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52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1</a:t>
              </a:r>
            </a:p>
          </p:txBody>
        </p:sp>
        <p:sp>
          <p:nvSpPr>
            <p:cNvPr id="16" name="Kombinationstegning 15">
              <a:extLst>
                <a:ext uri="{FF2B5EF4-FFF2-40B4-BE49-F238E27FC236}">
                  <a16:creationId xmlns:a16="http://schemas.microsoft.com/office/drawing/2014/main" id="{38AA8925-755B-CC44-9D77-ABBFFB5873C3}"/>
                </a:ext>
              </a:extLst>
            </p:cNvPr>
            <p:cNvSpPr/>
            <p:nvPr/>
          </p:nvSpPr>
          <p:spPr>
            <a:xfrm>
              <a:off x="1423875" y="4157643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4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6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4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2 h 608067"/>
                <a:gd name="connsiteX39" fmla="*/ 372505 w 572723"/>
                <a:gd name="connsiteY39" fmla="*/ 76622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2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8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5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2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8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2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5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1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2"/>
                    <a:pt x="384540" y="76622"/>
                  </a:cubicBezTo>
                  <a:cubicBezTo>
                    <a:pt x="380528" y="76622"/>
                    <a:pt x="376517" y="76622"/>
                    <a:pt x="372505" y="76622"/>
                  </a:cubicBezTo>
                  <a:cubicBezTo>
                    <a:pt x="368493" y="76622"/>
                    <a:pt x="363479" y="76622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6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7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2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2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7980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088A53C9-7CE7-AD48-8870-F4DF2FF74E86}"/>
              </a:ext>
            </a:extLst>
          </p:cNvPr>
          <p:cNvGrpSpPr/>
          <p:nvPr userDrawn="1"/>
        </p:nvGrpSpPr>
        <p:grpSpPr>
          <a:xfrm>
            <a:off x="1308676" y="5490022"/>
            <a:ext cx="580929" cy="906402"/>
            <a:chOff x="4467788" y="4090750"/>
            <a:chExt cx="580929" cy="906402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4566AFE7-5DED-5B48-97A5-4133C1C75FB4}"/>
                </a:ext>
              </a:extLst>
            </p:cNvPr>
            <p:cNvSpPr txBox="1"/>
            <p:nvPr/>
          </p:nvSpPr>
          <p:spPr>
            <a:xfrm>
              <a:off x="4521008" y="4090750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5</a:t>
              </a:r>
            </a:p>
          </p:txBody>
        </p:sp>
        <p:sp>
          <p:nvSpPr>
            <p:cNvPr id="18" name="Kombinationstegning 17">
              <a:extLst>
                <a:ext uri="{FF2B5EF4-FFF2-40B4-BE49-F238E27FC236}">
                  <a16:creationId xmlns:a16="http://schemas.microsoft.com/office/drawing/2014/main" id="{389A7E92-22F2-8647-871D-CC13CB86CC94}"/>
                </a:ext>
              </a:extLst>
            </p:cNvPr>
            <p:cNvSpPr/>
            <p:nvPr/>
          </p:nvSpPr>
          <p:spPr>
            <a:xfrm>
              <a:off x="4467788" y="4173686"/>
              <a:ext cx="572723" cy="606061"/>
            </a:xfrm>
            <a:custGeom>
              <a:avLst/>
              <a:gdLst>
                <a:gd name="connsiteX0" fmla="*/ 17465 w 572723"/>
                <a:gd name="connsiteY0" fmla="*/ 204971 h 606061"/>
                <a:gd name="connsiteX1" fmla="*/ 15460 w 572723"/>
                <a:gd name="connsiteY1" fmla="*/ 211990 h 606061"/>
                <a:gd name="connsiteX2" fmla="*/ 40533 w 572723"/>
                <a:gd name="connsiteY2" fmla="*/ 140797 h 606061"/>
                <a:gd name="connsiteX3" fmla="*/ 6433 w 572723"/>
                <a:gd name="connsiteY3" fmla="*/ 221015 h 606061"/>
                <a:gd name="connsiteX4" fmla="*/ 8439 w 572723"/>
                <a:gd name="connsiteY4" fmla="*/ 298225 h 606061"/>
                <a:gd name="connsiteX5" fmla="*/ 415 w 572723"/>
                <a:gd name="connsiteY5" fmla="*/ 329309 h 606061"/>
                <a:gd name="connsiteX6" fmla="*/ 1418 w 572723"/>
                <a:gd name="connsiteY6" fmla="*/ 357386 h 606061"/>
                <a:gd name="connsiteX7" fmla="*/ 10445 w 572723"/>
                <a:gd name="connsiteY7" fmla="*/ 390476 h 606061"/>
                <a:gd name="connsiteX8" fmla="*/ 4427 w 572723"/>
                <a:gd name="connsiteY8" fmla="*/ 367413 h 606061"/>
                <a:gd name="connsiteX9" fmla="*/ 10445 w 572723"/>
                <a:gd name="connsiteY9" fmla="*/ 390476 h 606061"/>
                <a:gd name="connsiteX10" fmla="*/ 29501 w 572723"/>
                <a:gd name="connsiteY10" fmla="*/ 443620 h 606061"/>
                <a:gd name="connsiteX11" fmla="*/ 60592 w 572723"/>
                <a:gd name="connsiteY11" fmla="*/ 494759 h 606061"/>
                <a:gd name="connsiteX12" fmla="*/ 156874 w 572723"/>
                <a:gd name="connsiteY12" fmla="*/ 567958 h 606061"/>
                <a:gd name="connsiteX13" fmla="*/ 257167 w 572723"/>
                <a:gd name="connsiteY13" fmla="*/ 599043 h 606061"/>
                <a:gd name="connsiteX14" fmla="*/ 317344 w 572723"/>
                <a:gd name="connsiteY14" fmla="*/ 606062 h 606061"/>
                <a:gd name="connsiteX15" fmla="*/ 364481 w 572723"/>
                <a:gd name="connsiteY15" fmla="*/ 605059 h 606061"/>
                <a:gd name="connsiteX16" fmla="*/ 385543 w 572723"/>
                <a:gd name="connsiteY16" fmla="*/ 602051 h 606061"/>
                <a:gd name="connsiteX17" fmla="*/ 362476 w 572723"/>
                <a:gd name="connsiteY17" fmla="*/ 604056 h 606061"/>
                <a:gd name="connsiteX18" fmla="*/ 438699 w 572723"/>
                <a:gd name="connsiteY18" fmla="*/ 576983 h 606061"/>
                <a:gd name="connsiteX19" fmla="*/ 422652 w 572723"/>
                <a:gd name="connsiteY19" fmla="*/ 578988 h 606061"/>
                <a:gd name="connsiteX20" fmla="*/ 434687 w 572723"/>
                <a:gd name="connsiteY20" fmla="*/ 574977 h 606061"/>
                <a:gd name="connsiteX21" fmla="*/ 476810 w 572723"/>
                <a:gd name="connsiteY21" fmla="*/ 544896 h 606061"/>
                <a:gd name="connsiteX22" fmla="*/ 490852 w 572723"/>
                <a:gd name="connsiteY22" fmla="*/ 535871 h 606061"/>
                <a:gd name="connsiteX23" fmla="*/ 487843 w 572723"/>
                <a:gd name="connsiteY23" fmla="*/ 536874 h 606061"/>
                <a:gd name="connsiteX24" fmla="*/ 521943 w 572723"/>
                <a:gd name="connsiteY24" fmla="*/ 496765 h 606061"/>
                <a:gd name="connsiteX25" fmla="*/ 543004 w 572723"/>
                <a:gd name="connsiteY25" fmla="*/ 452645 h 606061"/>
                <a:gd name="connsiteX26" fmla="*/ 547016 w 572723"/>
                <a:gd name="connsiteY26" fmla="*/ 444623 h 606061"/>
                <a:gd name="connsiteX27" fmla="*/ 553034 w 572723"/>
                <a:gd name="connsiteY27" fmla="*/ 417549 h 606061"/>
                <a:gd name="connsiteX28" fmla="*/ 559051 w 572723"/>
                <a:gd name="connsiteY28" fmla="*/ 409528 h 606061"/>
                <a:gd name="connsiteX29" fmla="*/ 566072 w 572723"/>
                <a:gd name="connsiteY29" fmla="*/ 350367 h 606061"/>
                <a:gd name="connsiteX30" fmla="*/ 571086 w 572723"/>
                <a:gd name="connsiteY30" fmla="*/ 244078 h 606061"/>
                <a:gd name="connsiteX31" fmla="*/ 528963 w 572723"/>
                <a:gd name="connsiteY31" fmla="*/ 142802 h 606061"/>
                <a:gd name="connsiteX32" fmla="*/ 528963 w 572723"/>
                <a:gd name="connsiteY32" fmla="*/ 144808 h 606061"/>
                <a:gd name="connsiteX33" fmla="*/ 469790 w 572723"/>
                <a:gd name="connsiteY33" fmla="*/ 94672 h 606061"/>
                <a:gd name="connsiteX34" fmla="*/ 437696 w 572723"/>
                <a:gd name="connsiteY34" fmla="*/ 81636 h 606061"/>
                <a:gd name="connsiteX35" fmla="*/ 422652 w 572723"/>
                <a:gd name="connsiteY35" fmla="*/ 78628 h 606061"/>
                <a:gd name="connsiteX36" fmla="*/ 412623 w 572723"/>
                <a:gd name="connsiteY36" fmla="*/ 78628 h 606061"/>
                <a:gd name="connsiteX37" fmla="*/ 397579 w 572723"/>
                <a:gd name="connsiteY37" fmla="*/ 75620 h 606061"/>
                <a:gd name="connsiteX38" fmla="*/ 384540 w 572723"/>
                <a:gd name="connsiteY38" fmla="*/ 74617 h 606061"/>
                <a:gd name="connsiteX39" fmla="*/ 372505 w 572723"/>
                <a:gd name="connsiteY39" fmla="*/ 74617 h 606061"/>
                <a:gd name="connsiteX40" fmla="*/ 357461 w 572723"/>
                <a:gd name="connsiteY40" fmla="*/ 75620 h 606061"/>
                <a:gd name="connsiteX41" fmla="*/ 350440 w 572723"/>
                <a:gd name="connsiteY41" fmla="*/ 78628 h 606061"/>
                <a:gd name="connsiteX42" fmla="*/ 347432 w 572723"/>
                <a:gd name="connsiteY42" fmla="*/ 80633 h 606061"/>
                <a:gd name="connsiteX43" fmla="*/ 374511 w 572723"/>
                <a:gd name="connsiteY43" fmla="*/ 83642 h 606061"/>
                <a:gd name="connsiteX44" fmla="*/ 374511 w 572723"/>
                <a:gd name="connsiteY44" fmla="*/ 82639 h 606061"/>
                <a:gd name="connsiteX45" fmla="*/ 451737 w 572723"/>
                <a:gd name="connsiteY45" fmla="*/ 113723 h 606061"/>
                <a:gd name="connsiteX46" fmla="*/ 507902 w 572723"/>
                <a:gd name="connsiteY46" fmla="*/ 173887 h 606061"/>
                <a:gd name="connsiteX47" fmla="*/ 528963 w 572723"/>
                <a:gd name="connsiteY47" fmla="*/ 226029 h 606061"/>
                <a:gd name="connsiteX48" fmla="*/ 531972 w 572723"/>
                <a:gd name="connsiteY48" fmla="*/ 286192 h 606061"/>
                <a:gd name="connsiteX49" fmla="*/ 524951 w 572723"/>
                <a:gd name="connsiteY49" fmla="*/ 355380 h 606061"/>
                <a:gd name="connsiteX50" fmla="*/ 513919 w 572723"/>
                <a:gd name="connsiteY50" fmla="*/ 418552 h 606061"/>
                <a:gd name="connsiteX51" fmla="*/ 503890 w 572723"/>
                <a:gd name="connsiteY51" fmla="*/ 439609 h 606061"/>
                <a:gd name="connsiteX52" fmla="*/ 477813 w 572723"/>
                <a:gd name="connsiteY52" fmla="*/ 487740 h 606061"/>
                <a:gd name="connsiteX53" fmla="*/ 434687 w 572723"/>
                <a:gd name="connsiteY53" fmla="*/ 525844 h 606061"/>
                <a:gd name="connsiteX54" fmla="*/ 436693 w 572723"/>
                <a:gd name="connsiteY54" fmla="*/ 524841 h 606061"/>
                <a:gd name="connsiteX55" fmla="*/ 385543 w 572723"/>
                <a:gd name="connsiteY55" fmla="*/ 543893 h 606061"/>
                <a:gd name="connsiteX56" fmla="*/ 381531 w 572723"/>
                <a:gd name="connsiteY56" fmla="*/ 545898 h 606061"/>
                <a:gd name="connsiteX57" fmla="*/ 361473 w 572723"/>
                <a:gd name="connsiteY57" fmla="*/ 548906 h 606061"/>
                <a:gd name="connsiteX58" fmla="*/ 320352 w 572723"/>
                <a:gd name="connsiteY58" fmla="*/ 554923 h 606061"/>
                <a:gd name="connsiteX59" fmla="*/ 254158 w 572723"/>
                <a:gd name="connsiteY59" fmla="*/ 551915 h 606061"/>
                <a:gd name="connsiteX60" fmla="*/ 247138 w 572723"/>
                <a:gd name="connsiteY60" fmla="*/ 550912 h 606061"/>
                <a:gd name="connsiteX61" fmla="*/ 184956 w 572723"/>
                <a:gd name="connsiteY61" fmla="*/ 527849 h 606061"/>
                <a:gd name="connsiteX62" fmla="*/ 133806 w 572723"/>
                <a:gd name="connsiteY62" fmla="*/ 498770 h 606061"/>
                <a:gd name="connsiteX63" fmla="*/ 112744 w 572723"/>
                <a:gd name="connsiteY63" fmla="*/ 488743 h 606061"/>
                <a:gd name="connsiteX64" fmla="*/ 100709 w 572723"/>
                <a:gd name="connsiteY64" fmla="*/ 478716 h 606061"/>
                <a:gd name="connsiteX65" fmla="*/ 87671 w 572723"/>
                <a:gd name="connsiteY65" fmla="*/ 462672 h 606061"/>
                <a:gd name="connsiteX66" fmla="*/ 64603 w 572723"/>
                <a:gd name="connsiteY66" fmla="*/ 423566 h 606061"/>
                <a:gd name="connsiteX67" fmla="*/ 56580 w 572723"/>
                <a:gd name="connsiteY67" fmla="*/ 405517 h 606061"/>
                <a:gd name="connsiteX68" fmla="*/ 55577 w 572723"/>
                <a:gd name="connsiteY68" fmla="*/ 393484 h 606061"/>
                <a:gd name="connsiteX69" fmla="*/ 51565 w 572723"/>
                <a:gd name="connsiteY69" fmla="*/ 367413 h 606061"/>
                <a:gd name="connsiteX70" fmla="*/ 47553 w 572723"/>
                <a:gd name="connsiteY70" fmla="*/ 345353 h 606061"/>
                <a:gd name="connsiteX71" fmla="*/ 43542 w 572723"/>
                <a:gd name="connsiteY71" fmla="*/ 323293 h 606061"/>
                <a:gd name="connsiteX72" fmla="*/ 43542 w 572723"/>
                <a:gd name="connsiteY72" fmla="*/ 326301 h 606061"/>
                <a:gd name="connsiteX73" fmla="*/ 48556 w 572723"/>
                <a:gd name="connsiteY73" fmla="*/ 278170 h 606061"/>
                <a:gd name="connsiteX74" fmla="*/ 61595 w 572723"/>
                <a:gd name="connsiteY74" fmla="*/ 203969 h 606061"/>
                <a:gd name="connsiteX75" fmla="*/ 89677 w 572723"/>
                <a:gd name="connsiteY75" fmla="*/ 137789 h 606061"/>
                <a:gd name="connsiteX76" fmla="*/ 82656 w 572723"/>
                <a:gd name="connsiteY76" fmla="*/ 145811 h 606061"/>
                <a:gd name="connsiteX77" fmla="*/ 132803 w 572723"/>
                <a:gd name="connsiteY77" fmla="*/ 85647 h 606061"/>
                <a:gd name="connsiteX78" fmla="*/ 143835 w 572723"/>
                <a:gd name="connsiteY78" fmla="*/ 79631 h 606061"/>
                <a:gd name="connsiteX79" fmla="*/ 151859 w 572723"/>
                <a:gd name="connsiteY79" fmla="*/ 72612 h 606061"/>
                <a:gd name="connsiteX80" fmla="*/ 153865 w 572723"/>
                <a:gd name="connsiteY80" fmla="*/ 73614 h 606061"/>
                <a:gd name="connsiteX81" fmla="*/ 171918 w 572723"/>
                <a:gd name="connsiteY81" fmla="*/ 62584 h 606061"/>
                <a:gd name="connsiteX82" fmla="*/ 176932 w 572723"/>
                <a:gd name="connsiteY82" fmla="*/ 58573 h 606061"/>
                <a:gd name="connsiteX83" fmla="*/ 184956 w 572723"/>
                <a:gd name="connsiteY83" fmla="*/ 56568 h 606061"/>
                <a:gd name="connsiteX84" fmla="*/ 184956 w 572723"/>
                <a:gd name="connsiteY84" fmla="*/ 56568 h 606061"/>
                <a:gd name="connsiteX85" fmla="*/ 189970 w 572723"/>
                <a:gd name="connsiteY85" fmla="*/ 54563 h 606061"/>
                <a:gd name="connsiteX86" fmla="*/ 206018 w 572723"/>
                <a:gd name="connsiteY86" fmla="*/ 43533 h 606061"/>
                <a:gd name="connsiteX87" fmla="*/ 223067 w 572723"/>
                <a:gd name="connsiteY87" fmla="*/ 33505 h 606061"/>
                <a:gd name="connsiteX88" fmla="*/ 225073 w 572723"/>
                <a:gd name="connsiteY88" fmla="*/ 33505 h 606061"/>
                <a:gd name="connsiteX89" fmla="*/ 228082 w 572723"/>
                <a:gd name="connsiteY89" fmla="*/ 30497 h 606061"/>
                <a:gd name="connsiteX90" fmla="*/ 234100 w 572723"/>
                <a:gd name="connsiteY90" fmla="*/ 29494 h 606061"/>
                <a:gd name="connsiteX91" fmla="*/ 233097 w 572723"/>
                <a:gd name="connsiteY91" fmla="*/ 29494 h 606061"/>
                <a:gd name="connsiteX92" fmla="*/ 239114 w 572723"/>
                <a:gd name="connsiteY92" fmla="*/ 28492 h 606061"/>
                <a:gd name="connsiteX93" fmla="*/ 240117 w 572723"/>
                <a:gd name="connsiteY93" fmla="*/ 30497 h 606061"/>
                <a:gd name="connsiteX94" fmla="*/ 250147 w 572723"/>
                <a:gd name="connsiteY94" fmla="*/ 28492 h 606061"/>
                <a:gd name="connsiteX95" fmla="*/ 219056 w 572723"/>
                <a:gd name="connsiteY95" fmla="*/ 29494 h 606061"/>
                <a:gd name="connsiteX96" fmla="*/ 234100 w 572723"/>
                <a:gd name="connsiteY96" fmla="*/ 25483 h 606061"/>
                <a:gd name="connsiteX97" fmla="*/ 245132 w 572723"/>
                <a:gd name="connsiteY97" fmla="*/ 25483 h 606061"/>
                <a:gd name="connsiteX98" fmla="*/ 258170 w 572723"/>
                <a:gd name="connsiteY98" fmla="*/ 25483 h 606061"/>
                <a:gd name="connsiteX99" fmla="*/ 265191 w 572723"/>
                <a:gd name="connsiteY99" fmla="*/ 23478 h 606061"/>
                <a:gd name="connsiteX100" fmla="*/ 273214 w 572723"/>
                <a:gd name="connsiteY100" fmla="*/ 24481 h 606061"/>
                <a:gd name="connsiteX101" fmla="*/ 261179 w 572723"/>
                <a:gd name="connsiteY101" fmla="*/ 25483 h 606061"/>
                <a:gd name="connsiteX102" fmla="*/ 266194 w 572723"/>
                <a:gd name="connsiteY102" fmla="*/ 26486 h 606061"/>
                <a:gd name="connsiteX103" fmla="*/ 273214 w 572723"/>
                <a:gd name="connsiteY103" fmla="*/ 26486 h 606061"/>
                <a:gd name="connsiteX104" fmla="*/ 287255 w 572723"/>
                <a:gd name="connsiteY104" fmla="*/ 26486 h 606061"/>
                <a:gd name="connsiteX105" fmla="*/ 293273 w 572723"/>
                <a:gd name="connsiteY105" fmla="*/ 29494 h 606061"/>
                <a:gd name="connsiteX106" fmla="*/ 297285 w 572723"/>
                <a:gd name="connsiteY106" fmla="*/ 28492 h 606061"/>
                <a:gd name="connsiteX107" fmla="*/ 289261 w 572723"/>
                <a:gd name="connsiteY107" fmla="*/ 23478 h 606061"/>
                <a:gd name="connsiteX108" fmla="*/ 300294 w 572723"/>
                <a:gd name="connsiteY108" fmla="*/ 25483 h 606061"/>
                <a:gd name="connsiteX109" fmla="*/ 300294 w 572723"/>
                <a:gd name="connsiteY109" fmla="*/ 23478 h 606061"/>
                <a:gd name="connsiteX110" fmla="*/ 310323 w 572723"/>
                <a:gd name="connsiteY110" fmla="*/ 25483 h 606061"/>
                <a:gd name="connsiteX111" fmla="*/ 307314 w 572723"/>
                <a:gd name="connsiteY111" fmla="*/ 24481 h 606061"/>
                <a:gd name="connsiteX112" fmla="*/ 296282 w 572723"/>
                <a:gd name="connsiteY112" fmla="*/ 26486 h 606061"/>
                <a:gd name="connsiteX113" fmla="*/ 286252 w 572723"/>
                <a:gd name="connsiteY113" fmla="*/ 28492 h 606061"/>
                <a:gd name="connsiteX114" fmla="*/ 299291 w 572723"/>
                <a:gd name="connsiteY114" fmla="*/ 25483 h 606061"/>
                <a:gd name="connsiteX115" fmla="*/ 311326 w 572723"/>
                <a:gd name="connsiteY115" fmla="*/ 24481 h 606061"/>
                <a:gd name="connsiteX116" fmla="*/ 311326 w 572723"/>
                <a:gd name="connsiteY116" fmla="*/ 21473 h 606061"/>
                <a:gd name="connsiteX117" fmla="*/ 307314 w 572723"/>
                <a:gd name="connsiteY117" fmla="*/ 22475 h 606061"/>
                <a:gd name="connsiteX118" fmla="*/ 303302 w 572723"/>
                <a:gd name="connsiteY118" fmla="*/ 18464 h 606061"/>
                <a:gd name="connsiteX119" fmla="*/ 296282 w 572723"/>
                <a:gd name="connsiteY119" fmla="*/ 21473 h 606061"/>
                <a:gd name="connsiteX120" fmla="*/ 288258 w 572723"/>
                <a:gd name="connsiteY120" fmla="*/ 23478 h 606061"/>
                <a:gd name="connsiteX121" fmla="*/ 290264 w 572723"/>
                <a:gd name="connsiteY121" fmla="*/ 24481 h 606061"/>
                <a:gd name="connsiteX122" fmla="*/ 302300 w 572723"/>
                <a:gd name="connsiteY122" fmla="*/ 25483 h 606061"/>
                <a:gd name="connsiteX123" fmla="*/ 309320 w 572723"/>
                <a:gd name="connsiteY123" fmla="*/ 24481 h 606061"/>
                <a:gd name="connsiteX124" fmla="*/ 310323 w 572723"/>
                <a:gd name="connsiteY124" fmla="*/ 24481 h 606061"/>
                <a:gd name="connsiteX125" fmla="*/ 316341 w 572723"/>
                <a:gd name="connsiteY125" fmla="*/ 23478 h 606061"/>
                <a:gd name="connsiteX126" fmla="*/ 314335 w 572723"/>
                <a:gd name="connsiteY126" fmla="*/ 16459 h 606061"/>
                <a:gd name="connsiteX127" fmla="*/ 313332 w 572723"/>
                <a:gd name="connsiteY127" fmla="*/ 9440 h 606061"/>
                <a:gd name="connsiteX128" fmla="*/ 302300 w 572723"/>
                <a:gd name="connsiteY128" fmla="*/ 10443 h 606061"/>
                <a:gd name="connsiteX129" fmla="*/ 292270 w 572723"/>
                <a:gd name="connsiteY129" fmla="*/ 6432 h 606061"/>
                <a:gd name="connsiteX130" fmla="*/ 288258 w 572723"/>
                <a:gd name="connsiteY130" fmla="*/ 7434 h 606061"/>
                <a:gd name="connsiteX131" fmla="*/ 281238 w 572723"/>
                <a:gd name="connsiteY131" fmla="*/ 4426 h 606061"/>
                <a:gd name="connsiteX132" fmla="*/ 270205 w 572723"/>
                <a:gd name="connsiteY132" fmla="*/ 4426 h 606061"/>
                <a:gd name="connsiteX133" fmla="*/ 267197 w 572723"/>
                <a:gd name="connsiteY133" fmla="*/ 6432 h 606061"/>
                <a:gd name="connsiteX134" fmla="*/ 247138 w 572723"/>
                <a:gd name="connsiteY134" fmla="*/ 7434 h 606061"/>
                <a:gd name="connsiteX135" fmla="*/ 243126 w 572723"/>
                <a:gd name="connsiteY135" fmla="*/ 2421 h 606061"/>
                <a:gd name="connsiteX136" fmla="*/ 250147 w 572723"/>
                <a:gd name="connsiteY136" fmla="*/ 4426 h 606061"/>
                <a:gd name="connsiteX137" fmla="*/ 260176 w 572723"/>
                <a:gd name="connsiteY137" fmla="*/ 415 h 606061"/>
                <a:gd name="connsiteX138" fmla="*/ 245132 w 572723"/>
                <a:gd name="connsiteY138" fmla="*/ 1418 h 606061"/>
                <a:gd name="connsiteX139" fmla="*/ 246135 w 572723"/>
                <a:gd name="connsiteY139" fmla="*/ 1418 h 606061"/>
                <a:gd name="connsiteX140" fmla="*/ 226076 w 572723"/>
                <a:gd name="connsiteY140" fmla="*/ 4426 h 606061"/>
                <a:gd name="connsiteX141" fmla="*/ 228082 w 572723"/>
                <a:gd name="connsiteY141" fmla="*/ 1418 h 606061"/>
                <a:gd name="connsiteX142" fmla="*/ 220059 w 572723"/>
                <a:gd name="connsiteY142" fmla="*/ 4426 h 606061"/>
                <a:gd name="connsiteX143" fmla="*/ 220059 w 572723"/>
                <a:gd name="connsiteY143" fmla="*/ 5429 h 606061"/>
                <a:gd name="connsiteX144" fmla="*/ 211032 w 572723"/>
                <a:gd name="connsiteY144" fmla="*/ 7434 h 606061"/>
                <a:gd name="connsiteX145" fmla="*/ 194985 w 572723"/>
                <a:gd name="connsiteY145" fmla="*/ 15456 h 606061"/>
                <a:gd name="connsiteX146" fmla="*/ 180944 w 572723"/>
                <a:gd name="connsiteY146" fmla="*/ 24481 h 606061"/>
                <a:gd name="connsiteX147" fmla="*/ 170915 w 572723"/>
                <a:gd name="connsiteY147" fmla="*/ 28492 h 606061"/>
                <a:gd name="connsiteX148" fmla="*/ 176932 w 572723"/>
                <a:gd name="connsiteY148" fmla="*/ 25483 h 606061"/>
                <a:gd name="connsiteX149" fmla="*/ 189970 w 572723"/>
                <a:gd name="connsiteY149" fmla="*/ 17462 h 606061"/>
                <a:gd name="connsiteX150" fmla="*/ 203009 w 572723"/>
                <a:gd name="connsiteY150" fmla="*/ 10443 h 606061"/>
                <a:gd name="connsiteX151" fmla="*/ 206018 w 572723"/>
                <a:gd name="connsiteY151" fmla="*/ 8437 h 606061"/>
                <a:gd name="connsiteX152" fmla="*/ 195988 w 572723"/>
                <a:gd name="connsiteY152" fmla="*/ 12448 h 606061"/>
                <a:gd name="connsiteX153" fmla="*/ 178938 w 572723"/>
                <a:gd name="connsiteY153" fmla="*/ 21473 h 606061"/>
                <a:gd name="connsiteX154" fmla="*/ 162891 w 572723"/>
                <a:gd name="connsiteY154" fmla="*/ 31500 h 606061"/>
                <a:gd name="connsiteX155" fmla="*/ 154868 w 572723"/>
                <a:gd name="connsiteY155" fmla="*/ 36513 h 606061"/>
                <a:gd name="connsiteX156" fmla="*/ 149853 w 572723"/>
                <a:gd name="connsiteY156" fmla="*/ 41527 h 606061"/>
                <a:gd name="connsiteX157" fmla="*/ 145841 w 572723"/>
                <a:gd name="connsiteY157" fmla="*/ 40524 h 606061"/>
                <a:gd name="connsiteX158" fmla="*/ 144838 w 572723"/>
                <a:gd name="connsiteY158" fmla="*/ 41527 h 606061"/>
                <a:gd name="connsiteX159" fmla="*/ 140827 w 572723"/>
                <a:gd name="connsiteY159" fmla="*/ 42530 h 606061"/>
                <a:gd name="connsiteX160" fmla="*/ 127788 w 572723"/>
                <a:gd name="connsiteY160" fmla="*/ 52557 h 606061"/>
                <a:gd name="connsiteX161" fmla="*/ 115753 w 572723"/>
                <a:gd name="connsiteY161" fmla="*/ 64590 h 606061"/>
                <a:gd name="connsiteX162" fmla="*/ 121771 w 572723"/>
                <a:gd name="connsiteY162" fmla="*/ 52557 h 606061"/>
                <a:gd name="connsiteX163" fmla="*/ 122774 w 572723"/>
                <a:gd name="connsiteY163" fmla="*/ 52557 h 606061"/>
                <a:gd name="connsiteX164" fmla="*/ 125783 w 572723"/>
                <a:gd name="connsiteY164" fmla="*/ 47543 h 606061"/>
                <a:gd name="connsiteX165" fmla="*/ 112744 w 572723"/>
                <a:gd name="connsiteY165" fmla="*/ 59576 h 606061"/>
                <a:gd name="connsiteX166" fmla="*/ 109736 w 572723"/>
                <a:gd name="connsiteY166" fmla="*/ 61582 h 606061"/>
                <a:gd name="connsiteX167" fmla="*/ 109736 w 572723"/>
                <a:gd name="connsiteY167" fmla="*/ 61582 h 606061"/>
                <a:gd name="connsiteX168" fmla="*/ 107730 w 572723"/>
                <a:gd name="connsiteY168" fmla="*/ 61582 h 606061"/>
                <a:gd name="connsiteX169" fmla="*/ 107730 w 572723"/>
                <a:gd name="connsiteY169" fmla="*/ 60579 h 606061"/>
                <a:gd name="connsiteX170" fmla="*/ 96697 w 572723"/>
                <a:gd name="connsiteY170" fmla="*/ 70606 h 606061"/>
                <a:gd name="connsiteX171" fmla="*/ 83659 w 572723"/>
                <a:gd name="connsiteY171" fmla="*/ 86650 h 606061"/>
                <a:gd name="connsiteX172" fmla="*/ 81653 w 572723"/>
                <a:gd name="connsiteY172" fmla="*/ 90661 h 606061"/>
                <a:gd name="connsiteX173" fmla="*/ 61595 w 572723"/>
                <a:gd name="connsiteY173" fmla="*/ 114726 h 606061"/>
                <a:gd name="connsiteX174" fmla="*/ 64603 w 572723"/>
                <a:gd name="connsiteY174" fmla="*/ 115729 h 606061"/>
                <a:gd name="connsiteX175" fmla="*/ 59589 w 572723"/>
                <a:gd name="connsiteY175" fmla="*/ 123751 h 606061"/>
                <a:gd name="connsiteX176" fmla="*/ 54574 w 572723"/>
                <a:gd name="connsiteY176" fmla="*/ 125756 h 606061"/>
                <a:gd name="connsiteX177" fmla="*/ 49559 w 572723"/>
                <a:gd name="connsiteY177" fmla="*/ 126759 h 606061"/>
                <a:gd name="connsiteX178" fmla="*/ 43542 w 572723"/>
                <a:gd name="connsiteY178" fmla="*/ 138792 h 606061"/>
                <a:gd name="connsiteX179" fmla="*/ 42539 w 572723"/>
                <a:gd name="connsiteY179" fmla="*/ 146813 h 606061"/>
                <a:gd name="connsiteX180" fmla="*/ 34515 w 572723"/>
                <a:gd name="connsiteY180" fmla="*/ 158846 h 606061"/>
                <a:gd name="connsiteX181" fmla="*/ 32509 w 572723"/>
                <a:gd name="connsiteY181" fmla="*/ 156841 h 606061"/>
                <a:gd name="connsiteX182" fmla="*/ 22480 w 572723"/>
                <a:gd name="connsiteY182" fmla="*/ 175892 h 606061"/>
                <a:gd name="connsiteX183" fmla="*/ 19471 w 572723"/>
                <a:gd name="connsiteY183" fmla="*/ 196950 h 606061"/>
                <a:gd name="connsiteX184" fmla="*/ 17465 w 572723"/>
                <a:gd name="connsiteY184" fmla="*/ 204971 h 60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6061">
                  <a:moveTo>
                    <a:pt x="17465" y="204971"/>
                  </a:moveTo>
                  <a:lnTo>
                    <a:pt x="15460" y="211990"/>
                  </a:lnTo>
                  <a:cubicBezTo>
                    <a:pt x="20474" y="187925"/>
                    <a:pt x="29501" y="163860"/>
                    <a:pt x="40533" y="140797"/>
                  </a:cubicBezTo>
                  <a:cubicBezTo>
                    <a:pt x="25489" y="163860"/>
                    <a:pt x="12451" y="192939"/>
                    <a:pt x="6433" y="221015"/>
                  </a:cubicBezTo>
                  <a:cubicBezTo>
                    <a:pt x="415" y="249091"/>
                    <a:pt x="1418" y="277168"/>
                    <a:pt x="8439" y="298225"/>
                  </a:cubicBezTo>
                  <a:cubicBezTo>
                    <a:pt x="4427" y="300230"/>
                    <a:pt x="1418" y="315271"/>
                    <a:pt x="415" y="329309"/>
                  </a:cubicBezTo>
                  <a:cubicBezTo>
                    <a:pt x="-588" y="343348"/>
                    <a:pt x="415" y="357386"/>
                    <a:pt x="1418" y="357386"/>
                  </a:cubicBezTo>
                  <a:cubicBezTo>
                    <a:pt x="4427" y="368416"/>
                    <a:pt x="7436" y="379446"/>
                    <a:pt x="10445" y="390476"/>
                  </a:cubicBezTo>
                  <a:cubicBezTo>
                    <a:pt x="8439" y="382454"/>
                    <a:pt x="6433" y="375435"/>
                    <a:pt x="4427" y="367413"/>
                  </a:cubicBezTo>
                  <a:cubicBezTo>
                    <a:pt x="6433" y="374432"/>
                    <a:pt x="8439" y="382454"/>
                    <a:pt x="10445" y="390476"/>
                  </a:cubicBezTo>
                  <a:cubicBezTo>
                    <a:pt x="15460" y="407522"/>
                    <a:pt x="21477" y="425571"/>
                    <a:pt x="29501" y="443620"/>
                  </a:cubicBezTo>
                  <a:cubicBezTo>
                    <a:pt x="37524" y="461669"/>
                    <a:pt x="47553" y="478716"/>
                    <a:pt x="60592" y="494759"/>
                  </a:cubicBezTo>
                  <a:cubicBezTo>
                    <a:pt x="86668" y="525844"/>
                    <a:pt x="120768" y="549909"/>
                    <a:pt x="156874" y="567958"/>
                  </a:cubicBezTo>
                  <a:cubicBezTo>
                    <a:pt x="176932" y="577985"/>
                    <a:pt x="216047" y="592024"/>
                    <a:pt x="257167" y="599043"/>
                  </a:cubicBezTo>
                  <a:cubicBezTo>
                    <a:pt x="278229" y="603054"/>
                    <a:pt x="299291" y="605059"/>
                    <a:pt x="317344" y="606062"/>
                  </a:cubicBezTo>
                  <a:cubicBezTo>
                    <a:pt x="336399" y="606062"/>
                    <a:pt x="353449" y="606062"/>
                    <a:pt x="364481" y="605059"/>
                  </a:cubicBezTo>
                  <a:cubicBezTo>
                    <a:pt x="371502" y="604056"/>
                    <a:pt x="378522" y="604056"/>
                    <a:pt x="385543" y="602051"/>
                  </a:cubicBezTo>
                  <a:cubicBezTo>
                    <a:pt x="373508" y="604056"/>
                    <a:pt x="373508" y="603054"/>
                    <a:pt x="362476" y="604056"/>
                  </a:cubicBezTo>
                  <a:cubicBezTo>
                    <a:pt x="390558" y="598040"/>
                    <a:pt x="415631" y="589015"/>
                    <a:pt x="438699" y="576983"/>
                  </a:cubicBezTo>
                  <a:cubicBezTo>
                    <a:pt x="433684" y="577985"/>
                    <a:pt x="432681" y="576983"/>
                    <a:pt x="422652" y="578988"/>
                  </a:cubicBezTo>
                  <a:cubicBezTo>
                    <a:pt x="426664" y="577985"/>
                    <a:pt x="430675" y="576983"/>
                    <a:pt x="434687" y="574977"/>
                  </a:cubicBezTo>
                  <a:cubicBezTo>
                    <a:pt x="444716" y="567958"/>
                    <a:pt x="467784" y="553920"/>
                    <a:pt x="476810" y="544896"/>
                  </a:cubicBezTo>
                  <a:cubicBezTo>
                    <a:pt x="475807" y="547904"/>
                    <a:pt x="483831" y="541887"/>
                    <a:pt x="490852" y="535871"/>
                  </a:cubicBezTo>
                  <a:lnTo>
                    <a:pt x="487843" y="536874"/>
                  </a:lnTo>
                  <a:cubicBezTo>
                    <a:pt x="500881" y="525844"/>
                    <a:pt x="512916" y="511806"/>
                    <a:pt x="521943" y="496765"/>
                  </a:cubicBezTo>
                  <a:cubicBezTo>
                    <a:pt x="530969" y="481724"/>
                    <a:pt x="537990" y="465680"/>
                    <a:pt x="543004" y="452645"/>
                  </a:cubicBezTo>
                  <a:cubicBezTo>
                    <a:pt x="544007" y="448634"/>
                    <a:pt x="546013" y="446628"/>
                    <a:pt x="547016" y="444623"/>
                  </a:cubicBezTo>
                  <a:cubicBezTo>
                    <a:pt x="549022" y="435598"/>
                    <a:pt x="552031" y="426574"/>
                    <a:pt x="553034" y="417549"/>
                  </a:cubicBezTo>
                  <a:cubicBezTo>
                    <a:pt x="555039" y="420557"/>
                    <a:pt x="560054" y="395489"/>
                    <a:pt x="559051" y="409528"/>
                  </a:cubicBezTo>
                  <a:cubicBezTo>
                    <a:pt x="561057" y="388470"/>
                    <a:pt x="566072" y="369418"/>
                    <a:pt x="566072" y="350367"/>
                  </a:cubicBezTo>
                  <a:cubicBezTo>
                    <a:pt x="571086" y="317277"/>
                    <a:pt x="575098" y="281179"/>
                    <a:pt x="571086" y="244078"/>
                  </a:cubicBezTo>
                  <a:cubicBezTo>
                    <a:pt x="567075" y="206977"/>
                    <a:pt x="552031" y="169876"/>
                    <a:pt x="528963" y="142802"/>
                  </a:cubicBezTo>
                  <a:lnTo>
                    <a:pt x="528963" y="144808"/>
                  </a:lnTo>
                  <a:cubicBezTo>
                    <a:pt x="512916" y="125756"/>
                    <a:pt x="493860" y="112721"/>
                    <a:pt x="469790" y="94672"/>
                  </a:cubicBezTo>
                  <a:cubicBezTo>
                    <a:pt x="459760" y="89658"/>
                    <a:pt x="447725" y="84644"/>
                    <a:pt x="437696" y="81636"/>
                  </a:cubicBezTo>
                  <a:cubicBezTo>
                    <a:pt x="432681" y="79631"/>
                    <a:pt x="427667" y="78628"/>
                    <a:pt x="422652" y="78628"/>
                  </a:cubicBezTo>
                  <a:cubicBezTo>
                    <a:pt x="418640" y="78628"/>
                    <a:pt x="414628" y="77625"/>
                    <a:pt x="412623" y="78628"/>
                  </a:cubicBezTo>
                  <a:cubicBezTo>
                    <a:pt x="406605" y="77625"/>
                    <a:pt x="401590" y="76623"/>
                    <a:pt x="397579" y="75620"/>
                  </a:cubicBezTo>
                  <a:cubicBezTo>
                    <a:pt x="392564" y="75620"/>
                    <a:pt x="388552" y="74617"/>
                    <a:pt x="384540" y="74617"/>
                  </a:cubicBezTo>
                  <a:cubicBezTo>
                    <a:pt x="380528" y="74617"/>
                    <a:pt x="376517" y="74617"/>
                    <a:pt x="372505" y="74617"/>
                  </a:cubicBezTo>
                  <a:cubicBezTo>
                    <a:pt x="368493" y="74617"/>
                    <a:pt x="363478" y="74617"/>
                    <a:pt x="357461" y="75620"/>
                  </a:cubicBezTo>
                  <a:cubicBezTo>
                    <a:pt x="360470" y="76623"/>
                    <a:pt x="355455" y="77625"/>
                    <a:pt x="350440" y="78628"/>
                  </a:cubicBezTo>
                  <a:cubicBezTo>
                    <a:pt x="346429" y="79631"/>
                    <a:pt x="341414" y="80633"/>
                    <a:pt x="347432" y="80633"/>
                  </a:cubicBezTo>
                  <a:cubicBezTo>
                    <a:pt x="361473" y="83642"/>
                    <a:pt x="362476" y="80633"/>
                    <a:pt x="374511" y="83642"/>
                  </a:cubicBezTo>
                  <a:lnTo>
                    <a:pt x="374511" y="82639"/>
                  </a:lnTo>
                  <a:cubicBezTo>
                    <a:pt x="402593" y="86650"/>
                    <a:pt x="428669" y="97680"/>
                    <a:pt x="451737" y="113723"/>
                  </a:cubicBezTo>
                  <a:cubicBezTo>
                    <a:pt x="474804" y="129767"/>
                    <a:pt x="494863" y="149822"/>
                    <a:pt x="507902" y="173887"/>
                  </a:cubicBezTo>
                  <a:cubicBezTo>
                    <a:pt x="518934" y="188928"/>
                    <a:pt x="525954" y="206977"/>
                    <a:pt x="528963" y="226029"/>
                  </a:cubicBezTo>
                  <a:cubicBezTo>
                    <a:pt x="532975" y="245080"/>
                    <a:pt x="532975" y="266138"/>
                    <a:pt x="531972" y="286192"/>
                  </a:cubicBezTo>
                  <a:cubicBezTo>
                    <a:pt x="530969" y="308252"/>
                    <a:pt x="527960" y="332318"/>
                    <a:pt x="524951" y="355380"/>
                  </a:cubicBezTo>
                  <a:cubicBezTo>
                    <a:pt x="521943" y="378443"/>
                    <a:pt x="518934" y="400503"/>
                    <a:pt x="513919" y="418552"/>
                  </a:cubicBezTo>
                  <a:cubicBezTo>
                    <a:pt x="511913" y="427577"/>
                    <a:pt x="507902" y="432590"/>
                    <a:pt x="503890" y="439609"/>
                  </a:cubicBezTo>
                  <a:cubicBezTo>
                    <a:pt x="497872" y="455653"/>
                    <a:pt x="489849" y="472699"/>
                    <a:pt x="477813" y="487740"/>
                  </a:cubicBezTo>
                  <a:cubicBezTo>
                    <a:pt x="465778" y="502781"/>
                    <a:pt x="450734" y="515816"/>
                    <a:pt x="434687" y="525844"/>
                  </a:cubicBezTo>
                  <a:cubicBezTo>
                    <a:pt x="435690" y="525844"/>
                    <a:pt x="435690" y="524841"/>
                    <a:pt x="436693" y="524841"/>
                  </a:cubicBezTo>
                  <a:cubicBezTo>
                    <a:pt x="419643" y="534868"/>
                    <a:pt x="404599" y="538879"/>
                    <a:pt x="385543" y="543893"/>
                  </a:cubicBezTo>
                  <a:cubicBezTo>
                    <a:pt x="385543" y="544896"/>
                    <a:pt x="382534" y="545898"/>
                    <a:pt x="381531" y="545898"/>
                  </a:cubicBezTo>
                  <a:cubicBezTo>
                    <a:pt x="380528" y="544896"/>
                    <a:pt x="372505" y="546901"/>
                    <a:pt x="361473" y="548906"/>
                  </a:cubicBezTo>
                  <a:cubicBezTo>
                    <a:pt x="350440" y="550912"/>
                    <a:pt x="335396" y="552917"/>
                    <a:pt x="320352" y="554923"/>
                  </a:cubicBezTo>
                  <a:cubicBezTo>
                    <a:pt x="289261" y="556928"/>
                    <a:pt x="257167" y="553920"/>
                    <a:pt x="254158" y="551915"/>
                  </a:cubicBezTo>
                  <a:cubicBezTo>
                    <a:pt x="252153" y="551915"/>
                    <a:pt x="250147" y="550912"/>
                    <a:pt x="247138" y="550912"/>
                  </a:cubicBezTo>
                  <a:cubicBezTo>
                    <a:pt x="226076" y="545898"/>
                    <a:pt x="204012" y="537876"/>
                    <a:pt x="184956" y="527849"/>
                  </a:cubicBezTo>
                  <a:cubicBezTo>
                    <a:pt x="165900" y="518825"/>
                    <a:pt x="148850" y="507795"/>
                    <a:pt x="133806" y="498770"/>
                  </a:cubicBezTo>
                  <a:cubicBezTo>
                    <a:pt x="126786" y="495762"/>
                    <a:pt x="118762" y="491751"/>
                    <a:pt x="112744" y="488743"/>
                  </a:cubicBezTo>
                  <a:cubicBezTo>
                    <a:pt x="108733" y="483729"/>
                    <a:pt x="105724" y="484732"/>
                    <a:pt x="100709" y="478716"/>
                  </a:cubicBezTo>
                  <a:cubicBezTo>
                    <a:pt x="91683" y="460667"/>
                    <a:pt x="84662" y="452645"/>
                    <a:pt x="87671" y="462672"/>
                  </a:cubicBezTo>
                  <a:cubicBezTo>
                    <a:pt x="76639" y="450639"/>
                    <a:pt x="69618" y="436601"/>
                    <a:pt x="64603" y="423566"/>
                  </a:cubicBezTo>
                  <a:cubicBezTo>
                    <a:pt x="61595" y="417549"/>
                    <a:pt x="58586" y="411533"/>
                    <a:pt x="56580" y="405517"/>
                  </a:cubicBezTo>
                  <a:cubicBezTo>
                    <a:pt x="54574" y="400503"/>
                    <a:pt x="54574" y="396492"/>
                    <a:pt x="55577" y="393484"/>
                  </a:cubicBezTo>
                  <a:cubicBezTo>
                    <a:pt x="51565" y="379446"/>
                    <a:pt x="53571" y="383457"/>
                    <a:pt x="51565" y="367413"/>
                  </a:cubicBezTo>
                  <a:cubicBezTo>
                    <a:pt x="52568" y="365408"/>
                    <a:pt x="49559" y="355380"/>
                    <a:pt x="47553" y="345353"/>
                  </a:cubicBezTo>
                  <a:cubicBezTo>
                    <a:pt x="45548" y="335326"/>
                    <a:pt x="43542" y="325299"/>
                    <a:pt x="43542" y="323293"/>
                  </a:cubicBezTo>
                  <a:lnTo>
                    <a:pt x="43542" y="326301"/>
                  </a:lnTo>
                  <a:cubicBezTo>
                    <a:pt x="42539" y="307249"/>
                    <a:pt x="47553" y="295217"/>
                    <a:pt x="48556" y="278170"/>
                  </a:cubicBezTo>
                  <a:cubicBezTo>
                    <a:pt x="50562" y="253102"/>
                    <a:pt x="54574" y="228034"/>
                    <a:pt x="61595" y="203969"/>
                  </a:cubicBezTo>
                  <a:cubicBezTo>
                    <a:pt x="67612" y="179903"/>
                    <a:pt x="77641" y="156841"/>
                    <a:pt x="89677" y="137789"/>
                  </a:cubicBezTo>
                  <a:cubicBezTo>
                    <a:pt x="87671" y="135783"/>
                    <a:pt x="85665" y="146813"/>
                    <a:pt x="82656" y="145811"/>
                  </a:cubicBezTo>
                  <a:cubicBezTo>
                    <a:pt x="95694" y="121745"/>
                    <a:pt x="113747" y="102693"/>
                    <a:pt x="132803" y="85647"/>
                  </a:cubicBezTo>
                  <a:cubicBezTo>
                    <a:pt x="136815" y="82639"/>
                    <a:pt x="141830" y="80633"/>
                    <a:pt x="143835" y="79631"/>
                  </a:cubicBezTo>
                  <a:cubicBezTo>
                    <a:pt x="150856" y="74617"/>
                    <a:pt x="146844" y="75620"/>
                    <a:pt x="151859" y="72612"/>
                  </a:cubicBezTo>
                  <a:lnTo>
                    <a:pt x="153865" y="73614"/>
                  </a:lnTo>
                  <a:cubicBezTo>
                    <a:pt x="159882" y="66595"/>
                    <a:pt x="165900" y="68601"/>
                    <a:pt x="171918" y="62584"/>
                  </a:cubicBezTo>
                  <a:cubicBezTo>
                    <a:pt x="171918" y="61582"/>
                    <a:pt x="173923" y="59576"/>
                    <a:pt x="176932" y="58573"/>
                  </a:cubicBezTo>
                  <a:cubicBezTo>
                    <a:pt x="177935" y="60579"/>
                    <a:pt x="184956" y="53560"/>
                    <a:pt x="184956" y="56568"/>
                  </a:cubicBezTo>
                  <a:lnTo>
                    <a:pt x="184956" y="56568"/>
                  </a:lnTo>
                  <a:cubicBezTo>
                    <a:pt x="186962" y="55565"/>
                    <a:pt x="187964" y="55565"/>
                    <a:pt x="189970" y="54563"/>
                  </a:cubicBezTo>
                  <a:cubicBezTo>
                    <a:pt x="190973" y="53560"/>
                    <a:pt x="197994" y="47543"/>
                    <a:pt x="206018" y="43533"/>
                  </a:cubicBezTo>
                  <a:cubicBezTo>
                    <a:pt x="213038" y="38519"/>
                    <a:pt x="221062" y="34508"/>
                    <a:pt x="223067" y="33505"/>
                  </a:cubicBezTo>
                  <a:lnTo>
                    <a:pt x="225073" y="33505"/>
                  </a:lnTo>
                  <a:cubicBezTo>
                    <a:pt x="230088" y="32503"/>
                    <a:pt x="231091" y="30497"/>
                    <a:pt x="228082" y="30497"/>
                  </a:cubicBezTo>
                  <a:lnTo>
                    <a:pt x="234100" y="29494"/>
                  </a:lnTo>
                  <a:lnTo>
                    <a:pt x="233097" y="29494"/>
                  </a:lnTo>
                  <a:lnTo>
                    <a:pt x="239114" y="28492"/>
                  </a:lnTo>
                  <a:cubicBezTo>
                    <a:pt x="240117" y="28492"/>
                    <a:pt x="241120" y="29494"/>
                    <a:pt x="240117" y="30497"/>
                  </a:cubicBezTo>
                  <a:cubicBezTo>
                    <a:pt x="243126" y="29494"/>
                    <a:pt x="247138" y="28492"/>
                    <a:pt x="250147" y="28492"/>
                  </a:cubicBezTo>
                  <a:cubicBezTo>
                    <a:pt x="241120" y="28492"/>
                    <a:pt x="229085" y="28492"/>
                    <a:pt x="219056" y="29494"/>
                  </a:cubicBezTo>
                  <a:cubicBezTo>
                    <a:pt x="223067" y="27489"/>
                    <a:pt x="230088" y="27489"/>
                    <a:pt x="234100" y="25483"/>
                  </a:cubicBezTo>
                  <a:cubicBezTo>
                    <a:pt x="237109" y="25483"/>
                    <a:pt x="241120" y="25483"/>
                    <a:pt x="245132" y="25483"/>
                  </a:cubicBezTo>
                  <a:cubicBezTo>
                    <a:pt x="249144" y="25483"/>
                    <a:pt x="254158" y="25483"/>
                    <a:pt x="258170" y="25483"/>
                  </a:cubicBezTo>
                  <a:cubicBezTo>
                    <a:pt x="260176" y="25483"/>
                    <a:pt x="261179" y="22475"/>
                    <a:pt x="265191" y="23478"/>
                  </a:cubicBezTo>
                  <a:cubicBezTo>
                    <a:pt x="267197" y="25483"/>
                    <a:pt x="270205" y="23478"/>
                    <a:pt x="273214" y="24481"/>
                  </a:cubicBezTo>
                  <a:cubicBezTo>
                    <a:pt x="269202" y="25483"/>
                    <a:pt x="265191" y="25483"/>
                    <a:pt x="261179" y="25483"/>
                  </a:cubicBezTo>
                  <a:cubicBezTo>
                    <a:pt x="261179" y="26486"/>
                    <a:pt x="264188" y="26486"/>
                    <a:pt x="266194" y="26486"/>
                  </a:cubicBezTo>
                  <a:cubicBezTo>
                    <a:pt x="269202" y="26486"/>
                    <a:pt x="272211" y="26486"/>
                    <a:pt x="273214" y="26486"/>
                  </a:cubicBezTo>
                  <a:cubicBezTo>
                    <a:pt x="274217" y="25483"/>
                    <a:pt x="282241" y="26486"/>
                    <a:pt x="287255" y="26486"/>
                  </a:cubicBezTo>
                  <a:cubicBezTo>
                    <a:pt x="285249" y="28492"/>
                    <a:pt x="291267" y="28492"/>
                    <a:pt x="293273" y="29494"/>
                  </a:cubicBezTo>
                  <a:cubicBezTo>
                    <a:pt x="296282" y="29494"/>
                    <a:pt x="298288" y="29494"/>
                    <a:pt x="297285" y="28492"/>
                  </a:cubicBezTo>
                  <a:cubicBezTo>
                    <a:pt x="298288" y="26486"/>
                    <a:pt x="285249" y="25483"/>
                    <a:pt x="289261" y="23478"/>
                  </a:cubicBezTo>
                  <a:cubicBezTo>
                    <a:pt x="290264" y="24481"/>
                    <a:pt x="296282" y="24481"/>
                    <a:pt x="300294" y="25483"/>
                  </a:cubicBezTo>
                  <a:cubicBezTo>
                    <a:pt x="300294" y="24481"/>
                    <a:pt x="298288" y="24481"/>
                    <a:pt x="300294" y="23478"/>
                  </a:cubicBezTo>
                  <a:cubicBezTo>
                    <a:pt x="304305" y="24481"/>
                    <a:pt x="308317" y="23478"/>
                    <a:pt x="310323" y="25483"/>
                  </a:cubicBezTo>
                  <a:cubicBezTo>
                    <a:pt x="309320" y="25483"/>
                    <a:pt x="308317" y="25483"/>
                    <a:pt x="307314" y="24481"/>
                  </a:cubicBezTo>
                  <a:cubicBezTo>
                    <a:pt x="309320" y="25483"/>
                    <a:pt x="302300" y="25483"/>
                    <a:pt x="296282" y="26486"/>
                  </a:cubicBezTo>
                  <a:cubicBezTo>
                    <a:pt x="289261" y="27489"/>
                    <a:pt x="283243" y="29494"/>
                    <a:pt x="286252" y="28492"/>
                  </a:cubicBezTo>
                  <a:cubicBezTo>
                    <a:pt x="285249" y="28492"/>
                    <a:pt x="292270" y="26486"/>
                    <a:pt x="299291" y="25483"/>
                  </a:cubicBezTo>
                  <a:cubicBezTo>
                    <a:pt x="306311" y="25483"/>
                    <a:pt x="313332" y="24481"/>
                    <a:pt x="311326" y="24481"/>
                  </a:cubicBezTo>
                  <a:cubicBezTo>
                    <a:pt x="308317" y="23478"/>
                    <a:pt x="314335" y="22475"/>
                    <a:pt x="311326" y="21473"/>
                  </a:cubicBezTo>
                  <a:lnTo>
                    <a:pt x="307314" y="22475"/>
                  </a:lnTo>
                  <a:cubicBezTo>
                    <a:pt x="303302" y="21473"/>
                    <a:pt x="302300" y="18464"/>
                    <a:pt x="303302" y="18464"/>
                  </a:cubicBezTo>
                  <a:cubicBezTo>
                    <a:pt x="307314" y="19467"/>
                    <a:pt x="301297" y="20470"/>
                    <a:pt x="296282" y="21473"/>
                  </a:cubicBezTo>
                  <a:cubicBezTo>
                    <a:pt x="291267" y="22475"/>
                    <a:pt x="285249" y="24481"/>
                    <a:pt x="288258" y="23478"/>
                  </a:cubicBezTo>
                  <a:lnTo>
                    <a:pt x="290264" y="24481"/>
                  </a:lnTo>
                  <a:cubicBezTo>
                    <a:pt x="293273" y="24481"/>
                    <a:pt x="300294" y="23478"/>
                    <a:pt x="302300" y="25483"/>
                  </a:cubicBezTo>
                  <a:cubicBezTo>
                    <a:pt x="302300" y="24481"/>
                    <a:pt x="306311" y="24481"/>
                    <a:pt x="309320" y="24481"/>
                  </a:cubicBezTo>
                  <a:lnTo>
                    <a:pt x="310323" y="24481"/>
                  </a:lnTo>
                  <a:cubicBezTo>
                    <a:pt x="313332" y="24481"/>
                    <a:pt x="317344" y="25483"/>
                    <a:pt x="316341" y="23478"/>
                  </a:cubicBezTo>
                  <a:cubicBezTo>
                    <a:pt x="307314" y="22475"/>
                    <a:pt x="311326" y="19467"/>
                    <a:pt x="314335" y="16459"/>
                  </a:cubicBezTo>
                  <a:cubicBezTo>
                    <a:pt x="318346" y="13451"/>
                    <a:pt x="322358" y="11445"/>
                    <a:pt x="313332" y="9440"/>
                  </a:cubicBezTo>
                  <a:cubicBezTo>
                    <a:pt x="320352" y="13451"/>
                    <a:pt x="310323" y="11445"/>
                    <a:pt x="302300" y="10443"/>
                  </a:cubicBezTo>
                  <a:cubicBezTo>
                    <a:pt x="301297" y="9440"/>
                    <a:pt x="298288" y="7434"/>
                    <a:pt x="292270" y="6432"/>
                  </a:cubicBezTo>
                  <a:cubicBezTo>
                    <a:pt x="287255" y="6432"/>
                    <a:pt x="289261" y="7434"/>
                    <a:pt x="288258" y="7434"/>
                  </a:cubicBezTo>
                  <a:cubicBezTo>
                    <a:pt x="285249" y="6432"/>
                    <a:pt x="280235" y="6432"/>
                    <a:pt x="281238" y="4426"/>
                  </a:cubicBezTo>
                  <a:cubicBezTo>
                    <a:pt x="277226" y="6432"/>
                    <a:pt x="275220" y="3424"/>
                    <a:pt x="270205" y="4426"/>
                  </a:cubicBezTo>
                  <a:cubicBezTo>
                    <a:pt x="266194" y="5429"/>
                    <a:pt x="270205" y="5429"/>
                    <a:pt x="267197" y="6432"/>
                  </a:cubicBezTo>
                  <a:cubicBezTo>
                    <a:pt x="261179" y="6432"/>
                    <a:pt x="252153" y="7434"/>
                    <a:pt x="247138" y="7434"/>
                  </a:cubicBezTo>
                  <a:cubicBezTo>
                    <a:pt x="245132" y="6432"/>
                    <a:pt x="239114" y="5429"/>
                    <a:pt x="243126" y="2421"/>
                  </a:cubicBezTo>
                  <a:cubicBezTo>
                    <a:pt x="253155" y="1418"/>
                    <a:pt x="240117" y="6432"/>
                    <a:pt x="250147" y="4426"/>
                  </a:cubicBezTo>
                  <a:cubicBezTo>
                    <a:pt x="245132" y="2421"/>
                    <a:pt x="259173" y="2421"/>
                    <a:pt x="260176" y="415"/>
                  </a:cubicBezTo>
                  <a:cubicBezTo>
                    <a:pt x="257167" y="-587"/>
                    <a:pt x="250147" y="415"/>
                    <a:pt x="245132" y="1418"/>
                  </a:cubicBezTo>
                  <a:lnTo>
                    <a:pt x="246135" y="1418"/>
                  </a:lnTo>
                  <a:cubicBezTo>
                    <a:pt x="241120" y="2421"/>
                    <a:pt x="232094" y="5429"/>
                    <a:pt x="226076" y="4426"/>
                  </a:cubicBezTo>
                  <a:cubicBezTo>
                    <a:pt x="227079" y="3424"/>
                    <a:pt x="225073" y="2421"/>
                    <a:pt x="228082" y="1418"/>
                  </a:cubicBezTo>
                  <a:lnTo>
                    <a:pt x="220059" y="4426"/>
                  </a:lnTo>
                  <a:cubicBezTo>
                    <a:pt x="219056" y="5429"/>
                    <a:pt x="218053" y="5429"/>
                    <a:pt x="220059" y="5429"/>
                  </a:cubicBezTo>
                  <a:cubicBezTo>
                    <a:pt x="217050" y="7434"/>
                    <a:pt x="214041" y="7434"/>
                    <a:pt x="211032" y="7434"/>
                  </a:cubicBezTo>
                  <a:cubicBezTo>
                    <a:pt x="210029" y="7434"/>
                    <a:pt x="202006" y="10443"/>
                    <a:pt x="194985" y="15456"/>
                  </a:cubicBezTo>
                  <a:cubicBezTo>
                    <a:pt x="186962" y="19467"/>
                    <a:pt x="179941" y="24481"/>
                    <a:pt x="180944" y="24481"/>
                  </a:cubicBezTo>
                  <a:cubicBezTo>
                    <a:pt x="176932" y="26486"/>
                    <a:pt x="174926" y="25483"/>
                    <a:pt x="170915" y="28492"/>
                  </a:cubicBezTo>
                  <a:cubicBezTo>
                    <a:pt x="170915" y="28492"/>
                    <a:pt x="172920" y="27489"/>
                    <a:pt x="176932" y="25483"/>
                  </a:cubicBezTo>
                  <a:cubicBezTo>
                    <a:pt x="180944" y="23478"/>
                    <a:pt x="184956" y="20470"/>
                    <a:pt x="189970" y="17462"/>
                  </a:cubicBezTo>
                  <a:cubicBezTo>
                    <a:pt x="194985" y="15456"/>
                    <a:pt x="198997" y="12448"/>
                    <a:pt x="203009" y="10443"/>
                  </a:cubicBezTo>
                  <a:cubicBezTo>
                    <a:pt x="206018" y="9440"/>
                    <a:pt x="208023" y="8437"/>
                    <a:pt x="206018" y="8437"/>
                  </a:cubicBezTo>
                  <a:cubicBezTo>
                    <a:pt x="205015" y="8437"/>
                    <a:pt x="201003" y="9440"/>
                    <a:pt x="195988" y="12448"/>
                  </a:cubicBezTo>
                  <a:cubicBezTo>
                    <a:pt x="190973" y="14454"/>
                    <a:pt x="184956" y="18464"/>
                    <a:pt x="178938" y="21473"/>
                  </a:cubicBezTo>
                  <a:cubicBezTo>
                    <a:pt x="172920" y="24481"/>
                    <a:pt x="167906" y="28492"/>
                    <a:pt x="162891" y="31500"/>
                  </a:cubicBezTo>
                  <a:cubicBezTo>
                    <a:pt x="158879" y="34508"/>
                    <a:pt x="155871" y="36513"/>
                    <a:pt x="154868" y="36513"/>
                  </a:cubicBezTo>
                  <a:cubicBezTo>
                    <a:pt x="151859" y="38519"/>
                    <a:pt x="148850" y="41527"/>
                    <a:pt x="149853" y="41527"/>
                  </a:cubicBezTo>
                  <a:cubicBezTo>
                    <a:pt x="144838" y="44535"/>
                    <a:pt x="149853" y="38519"/>
                    <a:pt x="145841" y="40524"/>
                  </a:cubicBezTo>
                  <a:cubicBezTo>
                    <a:pt x="145841" y="40524"/>
                    <a:pt x="146844" y="40524"/>
                    <a:pt x="144838" y="41527"/>
                  </a:cubicBezTo>
                  <a:cubicBezTo>
                    <a:pt x="143835" y="41527"/>
                    <a:pt x="141830" y="42530"/>
                    <a:pt x="140827" y="42530"/>
                  </a:cubicBezTo>
                  <a:cubicBezTo>
                    <a:pt x="137818" y="46541"/>
                    <a:pt x="132803" y="49549"/>
                    <a:pt x="127788" y="52557"/>
                  </a:cubicBezTo>
                  <a:cubicBezTo>
                    <a:pt x="123777" y="56568"/>
                    <a:pt x="118762" y="60579"/>
                    <a:pt x="115753" y="64590"/>
                  </a:cubicBezTo>
                  <a:cubicBezTo>
                    <a:pt x="116756" y="61582"/>
                    <a:pt x="117759" y="57571"/>
                    <a:pt x="121771" y="52557"/>
                  </a:cubicBezTo>
                  <a:lnTo>
                    <a:pt x="122774" y="52557"/>
                  </a:lnTo>
                  <a:cubicBezTo>
                    <a:pt x="122774" y="51554"/>
                    <a:pt x="126786" y="47543"/>
                    <a:pt x="125783" y="47543"/>
                  </a:cubicBezTo>
                  <a:cubicBezTo>
                    <a:pt x="120768" y="50552"/>
                    <a:pt x="116756" y="54563"/>
                    <a:pt x="112744" y="59576"/>
                  </a:cubicBezTo>
                  <a:cubicBezTo>
                    <a:pt x="111742" y="60579"/>
                    <a:pt x="110739" y="60579"/>
                    <a:pt x="109736" y="61582"/>
                  </a:cubicBezTo>
                  <a:cubicBezTo>
                    <a:pt x="109736" y="61582"/>
                    <a:pt x="109736" y="61582"/>
                    <a:pt x="109736" y="61582"/>
                  </a:cubicBezTo>
                  <a:cubicBezTo>
                    <a:pt x="107730" y="62584"/>
                    <a:pt x="107730" y="62584"/>
                    <a:pt x="107730" y="61582"/>
                  </a:cubicBezTo>
                  <a:cubicBezTo>
                    <a:pt x="107730" y="61582"/>
                    <a:pt x="107730" y="61582"/>
                    <a:pt x="107730" y="60579"/>
                  </a:cubicBezTo>
                  <a:cubicBezTo>
                    <a:pt x="104721" y="60579"/>
                    <a:pt x="101712" y="65593"/>
                    <a:pt x="96697" y="70606"/>
                  </a:cubicBezTo>
                  <a:cubicBezTo>
                    <a:pt x="92685" y="76623"/>
                    <a:pt x="87671" y="82639"/>
                    <a:pt x="83659" y="86650"/>
                  </a:cubicBezTo>
                  <a:cubicBezTo>
                    <a:pt x="81653" y="89658"/>
                    <a:pt x="83659" y="87652"/>
                    <a:pt x="81653" y="90661"/>
                  </a:cubicBezTo>
                  <a:cubicBezTo>
                    <a:pt x="73630" y="98682"/>
                    <a:pt x="68615" y="104699"/>
                    <a:pt x="61595" y="114726"/>
                  </a:cubicBezTo>
                  <a:cubicBezTo>
                    <a:pt x="60592" y="118737"/>
                    <a:pt x="61595" y="119740"/>
                    <a:pt x="64603" y="115729"/>
                  </a:cubicBezTo>
                  <a:lnTo>
                    <a:pt x="59589" y="123751"/>
                  </a:lnTo>
                  <a:cubicBezTo>
                    <a:pt x="59589" y="119740"/>
                    <a:pt x="56580" y="122748"/>
                    <a:pt x="54574" y="125756"/>
                  </a:cubicBezTo>
                  <a:cubicBezTo>
                    <a:pt x="51565" y="128764"/>
                    <a:pt x="49559" y="131772"/>
                    <a:pt x="49559" y="126759"/>
                  </a:cubicBezTo>
                  <a:cubicBezTo>
                    <a:pt x="47553" y="128764"/>
                    <a:pt x="44545" y="133778"/>
                    <a:pt x="43542" y="138792"/>
                  </a:cubicBezTo>
                  <a:cubicBezTo>
                    <a:pt x="44545" y="139794"/>
                    <a:pt x="45548" y="140797"/>
                    <a:pt x="42539" y="146813"/>
                  </a:cubicBezTo>
                  <a:cubicBezTo>
                    <a:pt x="37524" y="154835"/>
                    <a:pt x="38527" y="152830"/>
                    <a:pt x="34515" y="158846"/>
                  </a:cubicBezTo>
                  <a:cubicBezTo>
                    <a:pt x="32509" y="159849"/>
                    <a:pt x="33512" y="156841"/>
                    <a:pt x="32509" y="156841"/>
                  </a:cubicBezTo>
                  <a:cubicBezTo>
                    <a:pt x="30504" y="167871"/>
                    <a:pt x="26492" y="164862"/>
                    <a:pt x="22480" y="175892"/>
                  </a:cubicBezTo>
                  <a:cubicBezTo>
                    <a:pt x="20474" y="182911"/>
                    <a:pt x="17465" y="195947"/>
                    <a:pt x="19471" y="196950"/>
                  </a:cubicBezTo>
                  <a:cubicBezTo>
                    <a:pt x="20474" y="206977"/>
                    <a:pt x="19471" y="205974"/>
                    <a:pt x="17465" y="204971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9EE11248-F3BF-864C-A177-EBFB23D8503C}"/>
              </a:ext>
            </a:extLst>
          </p:cNvPr>
          <p:cNvGrpSpPr/>
          <p:nvPr userDrawn="1"/>
        </p:nvGrpSpPr>
        <p:grpSpPr>
          <a:xfrm>
            <a:off x="1308674" y="3024887"/>
            <a:ext cx="592351" cy="906402"/>
            <a:chOff x="2203157" y="4098931"/>
            <a:chExt cx="592351" cy="906402"/>
          </a:xfrm>
        </p:grpSpPr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79CFF0CC-1C59-7142-A8CC-AF4FDFDE936E}"/>
                </a:ext>
              </a:extLst>
            </p:cNvPr>
            <p:cNvSpPr txBox="1"/>
            <p:nvPr/>
          </p:nvSpPr>
          <p:spPr>
            <a:xfrm>
              <a:off x="2267799" y="4098931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2</a:t>
              </a:r>
            </a:p>
          </p:txBody>
        </p:sp>
        <p:sp>
          <p:nvSpPr>
            <p:cNvPr id="19" name="Kombinationstegning 18">
              <a:extLst>
                <a:ext uri="{FF2B5EF4-FFF2-40B4-BE49-F238E27FC236}">
                  <a16:creationId xmlns:a16="http://schemas.microsoft.com/office/drawing/2014/main" id="{98186A7F-E04F-A344-8C97-E1F4020EE1C7}"/>
                </a:ext>
              </a:extLst>
            </p:cNvPr>
            <p:cNvSpPr/>
            <p:nvPr/>
          </p:nvSpPr>
          <p:spPr>
            <a:xfrm>
              <a:off x="2203157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60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0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3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0 w 572724"/>
                <a:gd name="connsiteY85" fmla="*/ 56568 h 608067"/>
                <a:gd name="connsiteX86" fmla="*/ 206018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2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E6FEDFEE-F7B0-4148-A7EE-36285E92E9DE}"/>
              </a:ext>
            </a:extLst>
          </p:cNvPr>
          <p:cNvGrpSpPr/>
          <p:nvPr userDrawn="1"/>
        </p:nvGrpSpPr>
        <p:grpSpPr>
          <a:xfrm>
            <a:off x="1308673" y="3833454"/>
            <a:ext cx="627481" cy="870110"/>
            <a:chOff x="2960374" y="4076697"/>
            <a:chExt cx="627481" cy="870110"/>
          </a:xfrm>
        </p:grpSpPr>
        <p:sp>
          <p:nvSpPr>
            <p:cNvPr id="14" name="Tekstfelt 13">
              <a:extLst>
                <a:ext uri="{FF2B5EF4-FFF2-40B4-BE49-F238E27FC236}">
                  <a16:creationId xmlns:a16="http://schemas.microsoft.com/office/drawing/2014/main" id="{127A65BA-C169-D54B-B96E-F56314E0BB16}"/>
                </a:ext>
              </a:extLst>
            </p:cNvPr>
            <p:cNvSpPr txBox="1"/>
            <p:nvPr/>
          </p:nvSpPr>
          <p:spPr>
            <a:xfrm>
              <a:off x="3074573" y="4076697"/>
              <a:ext cx="513282" cy="87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054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3</a:t>
              </a:r>
            </a:p>
          </p:txBody>
        </p:sp>
        <p:sp>
          <p:nvSpPr>
            <p:cNvPr id="20" name="Kombinationstegning 19">
              <a:extLst>
                <a:ext uri="{FF2B5EF4-FFF2-40B4-BE49-F238E27FC236}">
                  <a16:creationId xmlns:a16="http://schemas.microsoft.com/office/drawing/2014/main" id="{6EB7399E-C2DB-DD4F-B1F2-9C7FFD133BBE}"/>
                </a:ext>
              </a:extLst>
            </p:cNvPr>
            <p:cNvSpPr/>
            <p:nvPr/>
          </p:nvSpPr>
          <p:spPr>
            <a:xfrm>
              <a:off x="2960374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59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1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4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1 w 572724"/>
                <a:gd name="connsiteY85" fmla="*/ 56568 h 608067"/>
                <a:gd name="connsiteX86" fmla="*/ 206017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3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59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7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59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3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9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1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9" y="546901"/>
                    <a:pt x="372505" y="548906"/>
                    <a:pt x="361473" y="550912"/>
                  </a:cubicBezTo>
                  <a:cubicBezTo>
                    <a:pt x="350441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4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7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3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1" y="56568"/>
                  </a:cubicBezTo>
                  <a:cubicBezTo>
                    <a:pt x="190973" y="55565"/>
                    <a:pt x="197994" y="49549"/>
                    <a:pt x="206017" y="45538"/>
                  </a:cubicBezTo>
                  <a:cubicBezTo>
                    <a:pt x="213038" y="40524"/>
                    <a:pt x="221061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6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50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50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50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6" y="22475"/>
                    <a:pt x="296282" y="23478"/>
                  </a:cubicBezTo>
                  <a:cubicBezTo>
                    <a:pt x="291267" y="24481"/>
                    <a:pt x="285250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0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50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5" y="6432"/>
                    <a:pt x="246135" y="4426"/>
                  </a:cubicBezTo>
                  <a:cubicBezTo>
                    <a:pt x="241120" y="2421"/>
                    <a:pt x="255162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1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3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6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3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5" name="Gruppe 24">
            <a:extLst>
              <a:ext uri="{FF2B5EF4-FFF2-40B4-BE49-F238E27FC236}">
                <a16:creationId xmlns:a16="http://schemas.microsoft.com/office/drawing/2014/main" id="{18CE61A2-D431-9A4C-8373-1E05182494CA}"/>
              </a:ext>
            </a:extLst>
          </p:cNvPr>
          <p:cNvGrpSpPr/>
          <p:nvPr userDrawn="1"/>
        </p:nvGrpSpPr>
        <p:grpSpPr>
          <a:xfrm>
            <a:off x="1308676" y="4692804"/>
            <a:ext cx="577040" cy="833754"/>
            <a:chOff x="3696530" y="4107267"/>
            <a:chExt cx="577040" cy="833754"/>
          </a:xfrm>
        </p:grpSpPr>
        <p:sp>
          <p:nvSpPr>
            <p:cNvPr id="15" name="Tekstfelt 14">
              <a:extLst>
                <a:ext uri="{FF2B5EF4-FFF2-40B4-BE49-F238E27FC236}">
                  <a16:creationId xmlns:a16="http://schemas.microsoft.com/office/drawing/2014/main" id="{F99AFC48-91AC-5F4D-B792-9F3BC4563246}"/>
                </a:ext>
              </a:extLst>
            </p:cNvPr>
            <p:cNvSpPr txBox="1"/>
            <p:nvPr/>
          </p:nvSpPr>
          <p:spPr>
            <a:xfrm>
              <a:off x="3776318" y="4107267"/>
              <a:ext cx="497252" cy="8337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481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4</a:t>
              </a:r>
            </a:p>
          </p:txBody>
        </p:sp>
        <p:sp>
          <p:nvSpPr>
            <p:cNvPr id="21" name="Kombinationstegning 20">
              <a:extLst>
                <a:ext uri="{FF2B5EF4-FFF2-40B4-BE49-F238E27FC236}">
                  <a16:creationId xmlns:a16="http://schemas.microsoft.com/office/drawing/2014/main" id="{37E26D19-BA0B-7B4A-98E7-0A65C7D39993}"/>
                </a:ext>
              </a:extLst>
            </p:cNvPr>
            <p:cNvSpPr/>
            <p:nvPr/>
          </p:nvSpPr>
          <p:spPr>
            <a:xfrm>
              <a:off x="3696530" y="4164662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3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5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3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3 h 608067"/>
                <a:gd name="connsiteX39" fmla="*/ 372505 w 572723"/>
                <a:gd name="connsiteY39" fmla="*/ 76623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1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9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4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3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7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1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4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7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3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2" y="606062"/>
                    <a:pt x="385543" y="604056"/>
                  </a:cubicBezTo>
                  <a:cubicBezTo>
                    <a:pt x="373508" y="606062"/>
                    <a:pt x="373508" y="605059"/>
                    <a:pt x="362475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89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3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8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1" y="82639"/>
                  </a:cubicBezTo>
                  <a:cubicBezTo>
                    <a:pt x="361473" y="85647"/>
                    <a:pt x="362475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2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2" y="462672"/>
                    <a:pt x="84662" y="454650"/>
                    <a:pt x="87671" y="464677"/>
                  </a:cubicBezTo>
                  <a:cubicBezTo>
                    <a:pt x="76638" y="452645"/>
                    <a:pt x="69618" y="438607"/>
                    <a:pt x="64603" y="425571"/>
                  </a:cubicBezTo>
                  <a:cubicBezTo>
                    <a:pt x="61594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9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4" y="205974"/>
                  </a:cubicBezTo>
                  <a:cubicBezTo>
                    <a:pt x="67612" y="181909"/>
                    <a:pt x="77641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3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7" y="64590"/>
                  </a:cubicBezTo>
                  <a:cubicBezTo>
                    <a:pt x="171917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1" y="57571"/>
                    <a:pt x="187964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6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0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3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3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5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7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1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4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3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4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sp>
        <p:nvSpPr>
          <p:cNvPr id="30" name="Pladsholder til tekst 2">
            <a:extLst>
              <a:ext uri="{FF2B5EF4-FFF2-40B4-BE49-F238E27FC236}">
                <a16:creationId xmlns:a16="http://schemas.microsoft.com/office/drawing/2014/main" id="{C9B57B85-8770-0841-BB19-40B7516950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79800" y="30920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1" name="Pladsholder til tekst 2">
            <a:extLst>
              <a:ext uri="{FF2B5EF4-FFF2-40B4-BE49-F238E27FC236}">
                <a16:creationId xmlns:a16="http://schemas.microsoft.com/office/drawing/2014/main" id="{E73C8752-A2E0-DC45-8EBA-D15AECFCAA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9800" y="39344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2" name="Pladsholder til tekst 2">
            <a:extLst>
              <a:ext uri="{FF2B5EF4-FFF2-40B4-BE49-F238E27FC236}">
                <a16:creationId xmlns:a16="http://schemas.microsoft.com/office/drawing/2014/main" id="{11E4C019-7294-044A-AF7C-F1E2E2E219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9800" y="47768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2893B3F6-3C9F-6B4F-BD6D-9C63D898DF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9800" y="56192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2271530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1831358"/>
            <a:ext cx="2796988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3990572"/>
            <a:ext cx="4646279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3992675"/>
            <a:ext cx="2796988" cy="18492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65172" y="4257910"/>
            <a:ext cx="2195929" cy="1380891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9048D62-3969-AF4F-9DFE-7CB99DD91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F939005-16F7-D242-90DC-BF9D655DFE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28465609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asere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E1980FE7-9B07-E646-894E-3528B0359370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ekstbaseret </a:t>
            </a:r>
            <a:br>
              <a:rPr lang="da-DK" sz="11501" b="1">
                <a:solidFill>
                  <a:srgbClr val="FFFFFF"/>
                </a:solidFill>
              </a:rPr>
            </a:br>
            <a:r>
              <a:rPr lang="da-DK" sz="11501" b="1">
                <a:solidFill>
                  <a:srgbClr val="FFFFFF"/>
                </a:solidFill>
              </a:rPr>
              <a:t>indhold</a:t>
            </a:r>
          </a:p>
        </p:txBody>
      </p:sp>
    </p:spTree>
    <p:extLst>
      <p:ext uri="{BB962C8B-B14F-4D97-AF65-F5344CB8AC3E}">
        <p14:creationId xmlns:p14="http://schemas.microsoft.com/office/powerpoint/2010/main" val="215245775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B340005-E0B7-A043-B055-7006507B18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173411991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) Indhold - 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22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noProof="0"/>
              <a:t>Klik for at redigere i overskrift</a:t>
            </a:r>
          </a:p>
          <a:p>
            <a:pPr lvl="0"/>
            <a:endParaRPr lang="da-DK" noProof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  <p:sp>
        <p:nvSpPr>
          <p:cNvPr id="1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4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288844" y="1731082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32004595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355931410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342905509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8385339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595521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Nyt afsnit</a:t>
            </a:r>
          </a:p>
        </p:txBody>
      </p:sp>
    </p:spTree>
    <p:extLst>
      <p:ext uri="{BB962C8B-B14F-4D97-AF65-F5344CB8AC3E}">
        <p14:creationId xmlns:p14="http://schemas.microsoft.com/office/powerpoint/2010/main" val="174876654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DB6CCC3-4B79-A846-8F97-C3D0B9F9CE3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8A69F2F3-767B-1543-9BB3-36075B3B8957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0" name="Kombinationstegning 9">
              <a:extLst>
                <a:ext uri="{FF2B5EF4-FFF2-40B4-BE49-F238E27FC236}">
                  <a16:creationId xmlns:a16="http://schemas.microsoft.com/office/drawing/2014/main" id="{261AFC55-9A17-4A4E-B03C-2D2432500C2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F4F00D4A-85ED-1F45-9352-DB89BAE5780C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96052132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9022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9"/>
            <a:ext cx="4646279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3990572"/>
            <a:ext cx="4794838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3990572"/>
            <a:ext cx="263562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3990572"/>
            <a:ext cx="2822600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E825661-551C-CB4A-BD64-F9F48E798F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2161DFB-9516-824E-931C-E348F1F9C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03917210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7945126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3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6422175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341365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3767778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4122084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05607814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524597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497183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5299716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68077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1831359"/>
            <a:ext cx="2796988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1831358"/>
            <a:ext cx="4646279" cy="400850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1831359"/>
            <a:ext cx="2822600" cy="21105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3990572"/>
            <a:ext cx="5668254" cy="184929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09ED05-355F-704F-8078-D8FBCB80CC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ADA6362-6032-7B48-806D-EE79E20F90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39546285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755516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3302460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3890419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9344272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9572636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5905549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2421384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1736011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1791118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13452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34210125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5464955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7812251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0"/>
            <a:ext cx="12185335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889933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1"/>
            <a:ext cx="12185335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8193066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1"/>
            <a:ext cx="12185334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7086277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3174"/>
            <a:ext cx="12185334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3284019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6660560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49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470415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4AEF326F-0A5F-5A44-AF6E-474B08DBF0D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09491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282CA72B-DAAA-2A47-B97A-964503CA2B5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25299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203444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467361"/>
            <a:ext cx="4876800" cy="15848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2955926"/>
            <a:ext cx="4876800" cy="32010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69249911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il store sale</a:t>
            </a:r>
          </a:p>
        </p:txBody>
      </p:sp>
    </p:spTree>
    <p:extLst>
      <p:ext uri="{BB962C8B-B14F-4D97-AF65-F5344CB8AC3E}">
        <p14:creationId xmlns:p14="http://schemas.microsoft.com/office/powerpoint/2010/main" val="135527625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984664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611154"/>
            <a:ext cx="10363200" cy="41127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035527"/>
            <a:ext cx="10363200" cy="1470524"/>
          </a:xfrm>
        </p:spPr>
        <p:txBody>
          <a:bodyPr/>
          <a:lstStyle>
            <a:lvl1pPr>
              <a:defRPr sz="48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3554954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40050310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65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2120348"/>
            <a:ext cx="10363200" cy="393755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347671414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46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B11F932-EEFF-0F42-A8FD-A7B6C194B9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20B5FF7-064E-A440-964E-203F0CBC0C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83540075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13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38147172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37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1" y="2090522"/>
            <a:ext cx="4929809" cy="396737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2090522"/>
            <a:ext cx="5181600" cy="3967379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D3F494E-CD8F-B44A-B895-7802E7D87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61361C2-35D9-DC40-ADAE-BE32D61966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65731432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295104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564836"/>
            <a:ext cx="10363200" cy="130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65722965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164016" y="199621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164016" y="4315350"/>
            <a:ext cx="3627184" cy="52913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164016" y="499380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400800" y="200107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00800" y="4315350"/>
            <a:ext cx="3627184" cy="53399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00800" y="499866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DCA192D-13F0-8B44-B645-43979F69C2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CBFA1C1-882E-5645-99C0-3185EC185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1327152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E3B89B6-A024-B84B-A5B9-26E24133BBD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882D2D26-0C67-134D-B9A4-B8005DA09D6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333020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07DDBD85-7D34-6D4E-839C-CC15FC2869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CC4041F-0124-C541-AFC8-AE62A127F40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17644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7" name="Pladsholder til tekst 3">
            <a:extLst>
              <a:ext uri="{FF2B5EF4-FFF2-40B4-BE49-F238E27FC236}">
                <a16:creationId xmlns:a16="http://schemas.microsoft.com/office/drawing/2014/main" id="{7B52DD36-DC98-3D47-A0C3-A9425FAE7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7644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8" name="Pladsholder til tekst 3">
            <a:extLst>
              <a:ext uri="{FF2B5EF4-FFF2-40B4-BE49-F238E27FC236}">
                <a16:creationId xmlns:a16="http://schemas.microsoft.com/office/drawing/2014/main" id="{8501AE1F-28E2-7F4A-8DB5-7A5850E2F8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17644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B62EDF71-561A-6A44-BCF5-2D09A169B936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934140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D63F48F0-EB0A-1B43-95C7-3DC5C8F084A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34140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E901EA20-D2D6-1847-BAEE-155DAFB627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34140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224E5EFD-6BAF-C446-8E69-8A63CE6F13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4C9323F9-7A7F-EA45-A263-1F23E4157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81300781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E7B02512-77B6-3E4D-A7FE-46004AAB3DD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3030EC21-C95B-AA41-BCB4-09DF2642AA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251495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8" name="Pladsholder til tekst 3">
            <a:extLst>
              <a:ext uri="{FF2B5EF4-FFF2-40B4-BE49-F238E27FC236}">
                <a16:creationId xmlns:a16="http://schemas.microsoft.com/office/drawing/2014/main" id="{AF32A35C-97F0-EF40-A200-C2393DDA49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47EE4D6-54EE-6B4D-94BC-576A41578E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519870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C54151C-9BD2-9441-B192-9C92CA68A4D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19870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1" name="Pladsholder til tekst 3">
            <a:extLst>
              <a:ext uri="{FF2B5EF4-FFF2-40B4-BE49-F238E27FC236}">
                <a16:creationId xmlns:a16="http://schemas.microsoft.com/office/drawing/2014/main" id="{0B9E6C6A-AE43-0C41-855D-6826155AE3D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19870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914B9948-AB67-514F-A195-A8D1BA9309C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37566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74ECA657-6A3A-1543-92C3-C61349168A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37566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6" name="Pladsholder til tekst 3">
            <a:extLst>
              <a:ext uri="{FF2B5EF4-FFF2-40B4-BE49-F238E27FC236}">
                <a16:creationId xmlns:a16="http://schemas.microsoft.com/office/drawing/2014/main" id="{5C9C9D67-6C46-924B-AF1B-E5B807F7146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7566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FBB4852E-96B9-3E44-86C7-1D0B200D11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CAFE22BC-7CFF-8048-8841-439F660FF1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0C59EBB3-3967-8946-9F8B-14CDF2AC3A6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763574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77BB1D31-72DA-2342-B1B2-2962322C16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63574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8B92E519-CB80-BC42-9A99-69D17D0546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63574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4172301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6) Indhold - top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3587"/>
            <a:ext cx="12192000" cy="365074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74109B2-14F7-8C45-B436-1D932F43BA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20DAE04-02FA-FA4E-80B1-DEACAA8CA1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60E2045-251E-0C48-95E3-D254032436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4419600"/>
            <a:ext cx="9076800" cy="183896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20710661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80472867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86705942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2019996"/>
            <a:ext cx="2796988" cy="389468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2019996"/>
            <a:ext cx="2796988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2019996"/>
            <a:ext cx="4646279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4089863"/>
            <a:ext cx="4646279" cy="182482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4089862"/>
            <a:ext cx="2796988" cy="18269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81798" y="4304061"/>
            <a:ext cx="2195929" cy="1426183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34353D1-F63C-274C-A2AA-4931139C8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197B0DB-59BC-5C4E-A85E-E3E4C1753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86011268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0864"/>
            <a:ext cx="2796988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0864"/>
            <a:ext cx="4646279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4098637"/>
            <a:ext cx="4794838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0864"/>
            <a:ext cx="2822600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4098637"/>
            <a:ext cx="2635624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4098637"/>
            <a:ext cx="2822600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33FED9-97B9-584F-A6D1-ED3735AFE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4EC77A8-1058-604D-AA07-79EB3B6DF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55991847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6620"/>
            <a:ext cx="2796988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6621"/>
            <a:ext cx="4646279" cy="39362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6620"/>
            <a:ext cx="2822600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4139739"/>
            <a:ext cx="5668254" cy="183313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1244420-0C1D-A54B-9BEA-A64234EE0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66A353E-08D4-944F-B5D4-CA3495E1A8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7997193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98349356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03205F-5AF1-8C44-8C5D-FA8E93654D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2C7903EA-DB60-B04D-98D6-FBA25BBCD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54F9CDD-2960-D043-9561-8FBD8B17D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98157541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CF49B0B-A67E-0347-B3E2-E981321E0A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6A1B4D00-31DD-DC4B-AFF0-EF1A65F4B3C9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8133E8D6-A266-494A-9802-FFC98886608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2" name="Kombinationstegning 11">
              <a:extLst>
                <a:ext uri="{FF2B5EF4-FFF2-40B4-BE49-F238E27FC236}">
                  <a16:creationId xmlns:a16="http://schemas.microsoft.com/office/drawing/2014/main" id="{82041656-5DF5-7545-B85B-7EC994BC2117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36426558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86167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10448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789554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7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264450706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4426464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9937825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8480610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14023862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8026062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2942178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5372809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8473144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4654861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647116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8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3448948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373483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3409507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1112360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2049634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4019011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6718893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9370246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6660982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6403943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208342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9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204549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1" y="0"/>
            <a:ext cx="12195201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5378971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241918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3073552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0"/>
            <a:ext cx="12185335" cy="68605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1364297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3" y="3174"/>
            <a:ext cx="12185335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4265033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4"/>
            <a:ext cx="12185333" cy="685425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2467592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34" y="3175"/>
            <a:ext cx="12185333" cy="6854249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6879411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7DC1A101-C4D9-A546-96D4-D7FAD68CA96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49125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E5C58D9B-5A43-B947-A80D-165D5224DA9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56095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594777"/>
              </p:ext>
            </p:extLst>
          </p:nvPr>
        </p:nvGraphicFramePr>
        <p:xfrm>
          <a:off x="2118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anchor="ctr" anchorCtr="0"/>
          <a:lstStyle>
            <a:lvl1pPr algn="r">
              <a:defRPr sz="900">
                <a:solidFill>
                  <a:srgbClr val="004454"/>
                </a:solidFill>
                <a:latin typeface="+mn-lt"/>
              </a:defRPr>
            </a:lvl1pPr>
          </a:lstStyle>
          <a:p>
            <a:fld id="{892EE196-DDA1-41FD-83E0-096904DE06E3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475549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0) Indhold - Best prac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P-Animation" descr="BP-Animation">
            <a:hlinkClick r:id="" action="ppaction://media"/>
            <a:extLst>
              <a:ext uri="{FF2B5EF4-FFF2-40B4-BE49-F238E27FC236}">
                <a16:creationId xmlns:a16="http://schemas.microsoft.com/office/drawing/2014/main" id="{576F7D11-4E26-1B4C-A111-575C6B10466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30238"/>
          <a:stretch/>
        </p:blipFill>
        <p:spPr>
          <a:xfrm>
            <a:off x="3364255" y="184108"/>
            <a:ext cx="6319796" cy="3206422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976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2179800" y="22496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736726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E2741BB0-BC6E-D043-8C59-CE47B8FEEF7A}"/>
              </a:ext>
            </a:extLst>
          </p:cNvPr>
          <p:cNvGrpSpPr/>
          <p:nvPr userDrawn="1"/>
        </p:nvGrpSpPr>
        <p:grpSpPr>
          <a:xfrm>
            <a:off x="1308675" y="2156651"/>
            <a:ext cx="627088" cy="943015"/>
            <a:chOff x="1423875" y="4071849"/>
            <a:chExt cx="627088" cy="943015"/>
          </a:xfrm>
        </p:grpSpPr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A1BAD3C0-82BE-B54D-9145-1EB45E6DD52F}"/>
                </a:ext>
              </a:extLst>
            </p:cNvPr>
            <p:cNvSpPr txBox="1"/>
            <p:nvPr/>
          </p:nvSpPr>
          <p:spPr>
            <a:xfrm>
              <a:off x="1507224" y="4071849"/>
              <a:ext cx="543739" cy="9430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52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1</a:t>
              </a:r>
            </a:p>
          </p:txBody>
        </p:sp>
        <p:sp>
          <p:nvSpPr>
            <p:cNvPr id="16" name="Kombinationstegning 15">
              <a:extLst>
                <a:ext uri="{FF2B5EF4-FFF2-40B4-BE49-F238E27FC236}">
                  <a16:creationId xmlns:a16="http://schemas.microsoft.com/office/drawing/2014/main" id="{38AA8925-755B-CC44-9D77-ABBFFB5873C3}"/>
                </a:ext>
              </a:extLst>
            </p:cNvPr>
            <p:cNvSpPr/>
            <p:nvPr/>
          </p:nvSpPr>
          <p:spPr>
            <a:xfrm>
              <a:off x="1423875" y="4157643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4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6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4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2 h 608067"/>
                <a:gd name="connsiteX39" fmla="*/ 372505 w 572723"/>
                <a:gd name="connsiteY39" fmla="*/ 76622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2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8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5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2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8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2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5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1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2"/>
                    <a:pt x="384540" y="76622"/>
                  </a:cubicBezTo>
                  <a:cubicBezTo>
                    <a:pt x="380528" y="76622"/>
                    <a:pt x="376517" y="76622"/>
                    <a:pt x="372505" y="76622"/>
                  </a:cubicBezTo>
                  <a:cubicBezTo>
                    <a:pt x="368493" y="76622"/>
                    <a:pt x="363479" y="76622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6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7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2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2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7980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088A53C9-7CE7-AD48-8870-F4DF2FF74E86}"/>
              </a:ext>
            </a:extLst>
          </p:cNvPr>
          <p:cNvGrpSpPr/>
          <p:nvPr userDrawn="1"/>
        </p:nvGrpSpPr>
        <p:grpSpPr>
          <a:xfrm>
            <a:off x="1308676" y="5490022"/>
            <a:ext cx="580929" cy="906402"/>
            <a:chOff x="4467788" y="4090750"/>
            <a:chExt cx="580929" cy="906402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4566AFE7-5DED-5B48-97A5-4133C1C75FB4}"/>
                </a:ext>
              </a:extLst>
            </p:cNvPr>
            <p:cNvSpPr txBox="1"/>
            <p:nvPr/>
          </p:nvSpPr>
          <p:spPr>
            <a:xfrm>
              <a:off x="4521008" y="4090750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5</a:t>
              </a:r>
            </a:p>
          </p:txBody>
        </p:sp>
        <p:sp>
          <p:nvSpPr>
            <p:cNvPr id="18" name="Kombinationstegning 17">
              <a:extLst>
                <a:ext uri="{FF2B5EF4-FFF2-40B4-BE49-F238E27FC236}">
                  <a16:creationId xmlns:a16="http://schemas.microsoft.com/office/drawing/2014/main" id="{389A7E92-22F2-8647-871D-CC13CB86CC94}"/>
                </a:ext>
              </a:extLst>
            </p:cNvPr>
            <p:cNvSpPr/>
            <p:nvPr/>
          </p:nvSpPr>
          <p:spPr>
            <a:xfrm>
              <a:off x="4467788" y="4173686"/>
              <a:ext cx="572723" cy="606061"/>
            </a:xfrm>
            <a:custGeom>
              <a:avLst/>
              <a:gdLst>
                <a:gd name="connsiteX0" fmla="*/ 17465 w 572723"/>
                <a:gd name="connsiteY0" fmla="*/ 204971 h 606061"/>
                <a:gd name="connsiteX1" fmla="*/ 15460 w 572723"/>
                <a:gd name="connsiteY1" fmla="*/ 211990 h 606061"/>
                <a:gd name="connsiteX2" fmla="*/ 40533 w 572723"/>
                <a:gd name="connsiteY2" fmla="*/ 140797 h 606061"/>
                <a:gd name="connsiteX3" fmla="*/ 6433 w 572723"/>
                <a:gd name="connsiteY3" fmla="*/ 221015 h 606061"/>
                <a:gd name="connsiteX4" fmla="*/ 8439 w 572723"/>
                <a:gd name="connsiteY4" fmla="*/ 298225 h 606061"/>
                <a:gd name="connsiteX5" fmla="*/ 415 w 572723"/>
                <a:gd name="connsiteY5" fmla="*/ 329309 h 606061"/>
                <a:gd name="connsiteX6" fmla="*/ 1418 w 572723"/>
                <a:gd name="connsiteY6" fmla="*/ 357386 h 606061"/>
                <a:gd name="connsiteX7" fmla="*/ 10445 w 572723"/>
                <a:gd name="connsiteY7" fmla="*/ 390476 h 606061"/>
                <a:gd name="connsiteX8" fmla="*/ 4427 w 572723"/>
                <a:gd name="connsiteY8" fmla="*/ 367413 h 606061"/>
                <a:gd name="connsiteX9" fmla="*/ 10445 w 572723"/>
                <a:gd name="connsiteY9" fmla="*/ 390476 h 606061"/>
                <a:gd name="connsiteX10" fmla="*/ 29501 w 572723"/>
                <a:gd name="connsiteY10" fmla="*/ 443620 h 606061"/>
                <a:gd name="connsiteX11" fmla="*/ 60592 w 572723"/>
                <a:gd name="connsiteY11" fmla="*/ 494759 h 606061"/>
                <a:gd name="connsiteX12" fmla="*/ 156874 w 572723"/>
                <a:gd name="connsiteY12" fmla="*/ 567958 h 606061"/>
                <a:gd name="connsiteX13" fmla="*/ 257167 w 572723"/>
                <a:gd name="connsiteY13" fmla="*/ 599043 h 606061"/>
                <a:gd name="connsiteX14" fmla="*/ 317344 w 572723"/>
                <a:gd name="connsiteY14" fmla="*/ 606062 h 606061"/>
                <a:gd name="connsiteX15" fmla="*/ 364481 w 572723"/>
                <a:gd name="connsiteY15" fmla="*/ 605059 h 606061"/>
                <a:gd name="connsiteX16" fmla="*/ 385543 w 572723"/>
                <a:gd name="connsiteY16" fmla="*/ 602051 h 606061"/>
                <a:gd name="connsiteX17" fmla="*/ 362476 w 572723"/>
                <a:gd name="connsiteY17" fmla="*/ 604056 h 606061"/>
                <a:gd name="connsiteX18" fmla="*/ 438699 w 572723"/>
                <a:gd name="connsiteY18" fmla="*/ 576983 h 606061"/>
                <a:gd name="connsiteX19" fmla="*/ 422652 w 572723"/>
                <a:gd name="connsiteY19" fmla="*/ 578988 h 606061"/>
                <a:gd name="connsiteX20" fmla="*/ 434687 w 572723"/>
                <a:gd name="connsiteY20" fmla="*/ 574977 h 606061"/>
                <a:gd name="connsiteX21" fmla="*/ 476810 w 572723"/>
                <a:gd name="connsiteY21" fmla="*/ 544896 h 606061"/>
                <a:gd name="connsiteX22" fmla="*/ 490852 w 572723"/>
                <a:gd name="connsiteY22" fmla="*/ 535871 h 606061"/>
                <a:gd name="connsiteX23" fmla="*/ 487843 w 572723"/>
                <a:gd name="connsiteY23" fmla="*/ 536874 h 606061"/>
                <a:gd name="connsiteX24" fmla="*/ 521943 w 572723"/>
                <a:gd name="connsiteY24" fmla="*/ 496765 h 606061"/>
                <a:gd name="connsiteX25" fmla="*/ 543004 w 572723"/>
                <a:gd name="connsiteY25" fmla="*/ 452645 h 606061"/>
                <a:gd name="connsiteX26" fmla="*/ 547016 w 572723"/>
                <a:gd name="connsiteY26" fmla="*/ 444623 h 606061"/>
                <a:gd name="connsiteX27" fmla="*/ 553034 w 572723"/>
                <a:gd name="connsiteY27" fmla="*/ 417549 h 606061"/>
                <a:gd name="connsiteX28" fmla="*/ 559051 w 572723"/>
                <a:gd name="connsiteY28" fmla="*/ 409528 h 606061"/>
                <a:gd name="connsiteX29" fmla="*/ 566072 w 572723"/>
                <a:gd name="connsiteY29" fmla="*/ 350367 h 606061"/>
                <a:gd name="connsiteX30" fmla="*/ 571086 w 572723"/>
                <a:gd name="connsiteY30" fmla="*/ 244078 h 606061"/>
                <a:gd name="connsiteX31" fmla="*/ 528963 w 572723"/>
                <a:gd name="connsiteY31" fmla="*/ 142802 h 606061"/>
                <a:gd name="connsiteX32" fmla="*/ 528963 w 572723"/>
                <a:gd name="connsiteY32" fmla="*/ 144808 h 606061"/>
                <a:gd name="connsiteX33" fmla="*/ 469790 w 572723"/>
                <a:gd name="connsiteY33" fmla="*/ 94672 h 606061"/>
                <a:gd name="connsiteX34" fmla="*/ 437696 w 572723"/>
                <a:gd name="connsiteY34" fmla="*/ 81636 h 606061"/>
                <a:gd name="connsiteX35" fmla="*/ 422652 w 572723"/>
                <a:gd name="connsiteY35" fmla="*/ 78628 h 606061"/>
                <a:gd name="connsiteX36" fmla="*/ 412623 w 572723"/>
                <a:gd name="connsiteY36" fmla="*/ 78628 h 606061"/>
                <a:gd name="connsiteX37" fmla="*/ 397579 w 572723"/>
                <a:gd name="connsiteY37" fmla="*/ 75620 h 606061"/>
                <a:gd name="connsiteX38" fmla="*/ 384540 w 572723"/>
                <a:gd name="connsiteY38" fmla="*/ 74617 h 606061"/>
                <a:gd name="connsiteX39" fmla="*/ 372505 w 572723"/>
                <a:gd name="connsiteY39" fmla="*/ 74617 h 606061"/>
                <a:gd name="connsiteX40" fmla="*/ 357461 w 572723"/>
                <a:gd name="connsiteY40" fmla="*/ 75620 h 606061"/>
                <a:gd name="connsiteX41" fmla="*/ 350440 w 572723"/>
                <a:gd name="connsiteY41" fmla="*/ 78628 h 606061"/>
                <a:gd name="connsiteX42" fmla="*/ 347432 w 572723"/>
                <a:gd name="connsiteY42" fmla="*/ 80633 h 606061"/>
                <a:gd name="connsiteX43" fmla="*/ 374511 w 572723"/>
                <a:gd name="connsiteY43" fmla="*/ 83642 h 606061"/>
                <a:gd name="connsiteX44" fmla="*/ 374511 w 572723"/>
                <a:gd name="connsiteY44" fmla="*/ 82639 h 606061"/>
                <a:gd name="connsiteX45" fmla="*/ 451737 w 572723"/>
                <a:gd name="connsiteY45" fmla="*/ 113723 h 606061"/>
                <a:gd name="connsiteX46" fmla="*/ 507902 w 572723"/>
                <a:gd name="connsiteY46" fmla="*/ 173887 h 606061"/>
                <a:gd name="connsiteX47" fmla="*/ 528963 w 572723"/>
                <a:gd name="connsiteY47" fmla="*/ 226029 h 606061"/>
                <a:gd name="connsiteX48" fmla="*/ 531972 w 572723"/>
                <a:gd name="connsiteY48" fmla="*/ 286192 h 606061"/>
                <a:gd name="connsiteX49" fmla="*/ 524951 w 572723"/>
                <a:gd name="connsiteY49" fmla="*/ 355380 h 606061"/>
                <a:gd name="connsiteX50" fmla="*/ 513919 w 572723"/>
                <a:gd name="connsiteY50" fmla="*/ 418552 h 606061"/>
                <a:gd name="connsiteX51" fmla="*/ 503890 w 572723"/>
                <a:gd name="connsiteY51" fmla="*/ 439609 h 606061"/>
                <a:gd name="connsiteX52" fmla="*/ 477813 w 572723"/>
                <a:gd name="connsiteY52" fmla="*/ 487740 h 606061"/>
                <a:gd name="connsiteX53" fmla="*/ 434687 w 572723"/>
                <a:gd name="connsiteY53" fmla="*/ 525844 h 606061"/>
                <a:gd name="connsiteX54" fmla="*/ 436693 w 572723"/>
                <a:gd name="connsiteY54" fmla="*/ 524841 h 606061"/>
                <a:gd name="connsiteX55" fmla="*/ 385543 w 572723"/>
                <a:gd name="connsiteY55" fmla="*/ 543893 h 606061"/>
                <a:gd name="connsiteX56" fmla="*/ 381531 w 572723"/>
                <a:gd name="connsiteY56" fmla="*/ 545898 h 606061"/>
                <a:gd name="connsiteX57" fmla="*/ 361473 w 572723"/>
                <a:gd name="connsiteY57" fmla="*/ 548906 h 606061"/>
                <a:gd name="connsiteX58" fmla="*/ 320352 w 572723"/>
                <a:gd name="connsiteY58" fmla="*/ 554923 h 606061"/>
                <a:gd name="connsiteX59" fmla="*/ 254158 w 572723"/>
                <a:gd name="connsiteY59" fmla="*/ 551915 h 606061"/>
                <a:gd name="connsiteX60" fmla="*/ 247138 w 572723"/>
                <a:gd name="connsiteY60" fmla="*/ 550912 h 606061"/>
                <a:gd name="connsiteX61" fmla="*/ 184956 w 572723"/>
                <a:gd name="connsiteY61" fmla="*/ 527849 h 606061"/>
                <a:gd name="connsiteX62" fmla="*/ 133806 w 572723"/>
                <a:gd name="connsiteY62" fmla="*/ 498770 h 606061"/>
                <a:gd name="connsiteX63" fmla="*/ 112744 w 572723"/>
                <a:gd name="connsiteY63" fmla="*/ 488743 h 606061"/>
                <a:gd name="connsiteX64" fmla="*/ 100709 w 572723"/>
                <a:gd name="connsiteY64" fmla="*/ 478716 h 606061"/>
                <a:gd name="connsiteX65" fmla="*/ 87671 w 572723"/>
                <a:gd name="connsiteY65" fmla="*/ 462672 h 606061"/>
                <a:gd name="connsiteX66" fmla="*/ 64603 w 572723"/>
                <a:gd name="connsiteY66" fmla="*/ 423566 h 606061"/>
                <a:gd name="connsiteX67" fmla="*/ 56580 w 572723"/>
                <a:gd name="connsiteY67" fmla="*/ 405517 h 606061"/>
                <a:gd name="connsiteX68" fmla="*/ 55577 w 572723"/>
                <a:gd name="connsiteY68" fmla="*/ 393484 h 606061"/>
                <a:gd name="connsiteX69" fmla="*/ 51565 w 572723"/>
                <a:gd name="connsiteY69" fmla="*/ 367413 h 606061"/>
                <a:gd name="connsiteX70" fmla="*/ 47553 w 572723"/>
                <a:gd name="connsiteY70" fmla="*/ 345353 h 606061"/>
                <a:gd name="connsiteX71" fmla="*/ 43542 w 572723"/>
                <a:gd name="connsiteY71" fmla="*/ 323293 h 606061"/>
                <a:gd name="connsiteX72" fmla="*/ 43542 w 572723"/>
                <a:gd name="connsiteY72" fmla="*/ 326301 h 606061"/>
                <a:gd name="connsiteX73" fmla="*/ 48556 w 572723"/>
                <a:gd name="connsiteY73" fmla="*/ 278170 h 606061"/>
                <a:gd name="connsiteX74" fmla="*/ 61595 w 572723"/>
                <a:gd name="connsiteY74" fmla="*/ 203969 h 606061"/>
                <a:gd name="connsiteX75" fmla="*/ 89677 w 572723"/>
                <a:gd name="connsiteY75" fmla="*/ 137789 h 606061"/>
                <a:gd name="connsiteX76" fmla="*/ 82656 w 572723"/>
                <a:gd name="connsiteY76" fmla="*/ 145811 h 606061"/>
                <a:gd name="connsiteX77" fmla="*/ 132803 w 572723"/>
                <a:gd name="connsiteY77" fmla="*/ 85647 h 606061"/>
                <a:gd name="connsiteX78" fmla="*/ 143835 w 572723"/>
                <a:gd name="connsiteY78" fmla="*/ 79631 h 606061"/>
                <a:gd name="connsiteX79" fmla="*/ 151859 w 572723"/>
                <a:gd name="connsiteY79" fmla="*/ 72612 h 606061"/>
                <a:gd name="connsiteX80" fmla="*/ 153865 w 572723"/>
                <a:gd name="connsiteY80" fmla="*/ 73614 h 606061"/>
                <a:gd name="connsiteX81" fmla="*/ 171918 w 572723"/>
                <a:gd name="connsiteY81" fmla="*/ 62584 h 606061"/>
                <a:gd name="connsiteX82" fmla="*/ 176932 w 572723"/>
                <a:gd name="connsiteY82" fmla="*/ 58573 h 606061"/>
                <a:gd name="connsiteX83" fmla="*/ 184956 w 572723"/>
                <a:gd name="connsiteY83" fmla="*/ 56568 h 606061"/>
                <a:gd name="connsiteX84" fmla="*/ 184956 w 572723"/>
                <a:gd name="connsiteY84" fmla="*/ 56568 h 606061"/>
                <a:gd name="connsiteX85" fmla="*/ 189970 w 572723"/>
                <a:gd name="connsiteY85" fmla="*/ 54563 h 606061"/>
                <a:gd name="connsiteX86" fmla="*/ 206018 w 572723"/>
                <a:gd name="connsiteY86" fmla="*/ 43533 h 606061"/>
                <a:gd name="connsiteX87" fmla="*/ 223067 w 572723"/>
                <a:gd name="connsiteY87" fmla="*/ 33505 h 606061"/>
                <a:gd name="connsiteX88" fmla="*/ 225073 w 572723"/>
                <a:gd name="connsiteY88" fmla="*/ 33505 h 606061"/>
                <a:gd name="connsiteX89" fmla="*/ 228082 w 572723"/>
                <a:gd name="connsiteY89" fmla="*/ 30497 h 606061"/>
                <a:gd name="connsiteX90" fmla="*/ 234100 w 572723"/>
                <a:gd name="connsiteY90" fmla="*/ 29494 h 606061"/>
                <a:gd name="connsiteX91" fmla="*/ 233097 w 572723"/>
                <a:gd name="connsiteY91" fmla="*/ 29494 h 606061"/>
                <a:gd name="connsiteX92" fmla="*/ 239114 w 572723"/>
                <a:gd name="connsiteY92" fmla="*/ 28492 h 606061"/>
                <a:gd name="connsiteX93" fmla="*/ 240117 w 572723"/>
                <a:gd name="connsiteY93" fmla="*/ 30497 h 606061"/>
                <a:gd name="connsiteX94" fmla="*/ 250147 w 572723"/>
                <a:gd name="connsiteY94" fmla="*/ 28492 h 606061"/>
                <a:gd name="connsiteX95" fmla="*/ 219056 w 572723"/>
                <a:gd name="connsiteY95" fmla="*/ 29494 h 606061"/>
                <a:gd name="connsiteX96" fmla="*/ 234100 w 572723"/>
                <a:gd name="connsiteY96" fmla="*/ 25483 h 606061"/>
                <a:gd name="connsiteX97" fmla="*/ 245132 w 572723"/>
                <a:gd name="connsiteY97" fmla="*/ 25483 h 606061"/>
                <a:gd name="connsiteX98" fmla="*/ 258170 w 572723"/>
                <a:gd name="connsiteY98" fmla="*/ 25483 h 606061"/>
                <a:gd name="connsiteX99" fmla="*/ 265191 w 572723"/>
                <a:gd name="connsiteY99" fmla="*/ 23478 h 606061"/>
                <a:gd name="connsiteX100" fmla="*/ 273214 w 572723"/>
                <a:gd name="connsiteY100" fmla="*/ 24481 h 606061"/>
                <a:gd name="connsiteX101" fmla="*/ 261179 w 572723"/>
                <a:gd name="connsiteY101" fmla="*/ 25483 h 606061"/>
                <a:gd name="connsiteX102" fmla="*/ 266194 w 572723"/>
                <a:gd name="connsiteY102" fmla="*/ 26486 h 606061"/>
                <a:gd name="connsiteX103" fmla="*/ 273214 w 572723"/>
                <a:gd name="connsiteY103" fmla="*/ 26486 h 606061"/>
                <a:gd name="connsiteX104" fmla="*/ 287255 w 572723"/>
                <a:gd name="connsiteY104" fmla="*/ 26486 h 606061"/>
                <a:gd name="connsiteX105" fmla="*/ 293273 w 572723"/>
                <a:gd name="connsiteY105" fmla="*/ 29494 h 606061"/>
                <a:gd name="connsiteX106" fmla="*/ 297285 w 572723"/>
                <a:gd name="connsiteY106" fmla="*/ 28492 h 606061"/>
                <a:gd name="connsiteX107" fmla="*/ 289261 w 572723"/>
                <a:gd name="connsiteY107" fmla="*/ 23478 h 606061"/>
                <a:gd name="connsiteX108" fmla="*/ 300294 w 572723"/>
                <a:gd name="connsiteY108" fmla="*/ 25483 h 606061"/>
                <a:gd name="connsiteX109" fmla="*/ 300294 w 572723"/>
                <a:gd name="connsiteY109" fmla="*/ 23478 h 606061"/>
                <a:gd name="connsiteX110" fmla="*/ 310323 w 572723"/>
                <a:gd name="connsiteY110" fmla="*/ 25483 h 606061"/>
                <a:gd name="connsiteX111" fmla="*/ 307314 w 572723"/>
                <a:gd name="connsiteY111" fmla="*/ 24481 h 606061"/>
                <a:gd name="connsiteX112" fmla="*/ 296282 w 572723"/>
                <a:gd name="connsiteY112" fmla="*/ 26486 h 606061"/>
                <a:gd name="connsiteX113" fmla="*/ 286252 w 572723"/>
                <a:gd name="connsiteY113" fmla="*/ 28492 h 606061"/>
                <a:gd name="connsiteX114" fmla="*/ 299291 w 572723"/>
                <a:gd name="connsiteY114" fmla="*/ 25483 h 606061"/>
                <a:gd name="connsiteX115" fmla="*/ 311326 w 572723"/>
                <a:gd name="connsiteY115" fmla="*/ 24481 h 606061"/>
                <a:gd name="connsiteX116" fmla="*/ 311326 w 572723"/>
                <a:gd name="connsiteY116" fmla="*/ 21473 h 606061"/>
                <a:gd name="connsiteX117" fmla="*/ 307314 w 572723"/>
                <a:gd name="connsiteY117" fmla="*/ 22475 h 606061"/>
                <a:gd name="connsiteX118" fmla="*/ 303302 w 572723"/>
                <a:gd name="connsiteY118" fmla="*/ 18464 h 606061"/>
                <a:gd name="connsiteX119" fmla="*/ 296282 w 572723"/>
                <a:gd name="connsiteY119" fmla="*/ 21473 h 606061"/>
                <a:gd name="connsiteX120" fmla="*/ 288258 w 572723"/>
                <a:gd name="connsiteY120" fmla="*/ 23478 h 606061"/>
                <a:gd name="connsiteX121" fmla="*/ 290264 w 572723"/>
                <a:gd name="connsiteY121" fmla="*/ 24481 h 606061"/>
                <a:gd name="connsiteX122" fmla="*/ 302300 w 572723"/>
                <a:gd name="connsiteY122" fmla="*/ 25483 h 606061"/>
                <a:gd name="connsiteX123" fmla="*/ 309320 w 572723"/>
                <a:gd name="connsiteY123" fmla="*/ 24481 h 606061"/>
                <a:gd name="connsiteX124" fmla="*/ 310323 w 572723"/>
                <a:gd name="connsiteY124" fmla="*/ 24481 h 606061"/>
                <a:gd name="connsiteX125" fmla="*/ 316341 w 572723"/>
                <a:gd name="connsiteY125" fmla="*/ 23478 h 606061"/>
                <a:gd name="connsiteX126" fmla="*/ 314335 w 572723"/>
                <a:gd name="connsiteY126" fmla="*/ 16459 h 606061"/>
                <a:gd name="connsiteX127" fmla="*/ 313332 w 572723"/>
                <a:gd name="connsiteY127" fmla="*/ 9440 h 606061"/>
                <a:gd name="connsiteX128" fmla="*/ 302300 w 572723"/>
                <a:gd name="connsiteY128" fmla="*/ 10443 h 606061"/>
                <a:gd name="connsiteX129" fmla="*/ 292270 w 572723"/>
                <a:gd name="connsiteY129" fmla="*/ 6432 h 606061"/>
                <a:gd name="connsiteX130" fmla="*/ 288258 w 572723"/>
                <a:gd name="connsiteY130" fmla="*/ 7434 h 606061"/>
                <a:gd name="connsiteX131" fmla="*/ 281238 w 572723"/>
                <a:gd name="connsiteY131" fmla="*/ 4426 h 606061"/>
                <a:gd name="connsiteX132" fmla="*/ 270205 w 572723"/>
                <a:gd name="connsiteY132" fmla="*/ 4426 h 606061"/>
                <a:gd name="connsiteX133" fmla="*/ 267197 w 572723"/>
                <a:gd name="connsiteY133" fmla="*/ 6432 h 606061"/>
                <a:gd name="connsiteX134" fmla="*/ 247138 w 572723"/>
                <a:gd name="connsiteY134" fmla="*/ 7434 h 606061"/>
                <a:gd name="connsiteX135" fmla="*/ 243126 w 572723"/>
                <a:gd name="connsiteY135" fmla="*/ 2421 h 606061"/>
                <a:gd name="connsiteX136" fmla="*/ 250147 w 572723"/>
                <a:gd name="connsiteY136" fmla="*/ 4426 h 606061"/>
                <a:gd name="connsiteX137" fmla="*/ 260176 w 572723"/>
                <a:gd name="connsiteY137" fmla="*/ 415 h 606061"/>
                <a:gd name="connsiteX138" fmla="*/ 245132 w 572723"/>
                <a:gd name="connsiteY138" fmla="*/ 1418 h 606061"/>
                <a:gd name="connsiteX139" fmla="*/ 246135 w 572723"/>
                <a:gd name="connsiteY139" fmla="*/ 1418 h 606061"/>
                <a:gd name="connsiteX140" fmla="*/ 226076 w 572723"/>
                <a:gd name="connsiteY140" fmla="*/ 4426 h 606061"/>
                <a:gd name="connsiteX141" fmla="*/ 228082 w 572723"/>
                <a:gd name="connsiteY141" fmla="*/ 1418 h 606061"/>
                <a:gd name="connsiteX142" fmla="*/ 220059 w 572723"/>
                <a:gd name="connsiteY142" fmla="*/ 4426 h 606061"/>
                <a:gd name="connsiteX143" fmla="*/ 220059 w 572723"/>
                <a:gd name="connsiteY143" fmla="*/ 5429 h 606061"/>
                <a:gd name="connsiteX144" fmla="*/ 211032 w 572723"/>
                <a:gd name="connsiteY144" fmla="*/ 7434 h 606061"/>
                <a:gd name="connsiteX145" fmla="*/ 194985 w 572723"/>
                <a:gd name="connsiteY145" fmla="*/ 15456 h 606061"/>
                <a:gd name="connsiteX146" fmla="*/ 180944 w 572723"/>
                <a:gd name="connsiteY146" fmla="*/ 24481 h 606061"/>
                <a:gd name="connsiteX147" fmla="*/ 170915 w 572723"/>
                <a:gd name="connsiteY147" fmla="*/ 28492 h 606061"/>
                <a:gd name="connsiteX148" fmla="*/ 176932 w 572723"/>
                <a:gd name="connsiteY148" fmla="*/ 25483 h 606061"/>
                <a:gd name="connsiteX149" fmla="*/ 189970 w 572723"/>
                <a:gd name="connsiteY149" fmla="*/ 17462 h 606061"/>
                <a:gd name="connsiteX150" fmla="*/ 203009 w 572723"/>
                <a:gd name="connsiteY150" fmla="*/ 10443 h 606061"/>
                <a:gd name="connsiteX151" fmla="*/ 206018 w 572723"/>
                <a:gd name="connsiteY151" fmla="*/ 8437 h 606061"/>
                <a:gd name="connsiteX152" fmla="*/ 195988 w 572723"/>
                <a:gd name="connsiteY152" fmla="*/ 12448 h 606061"/>
                <a:gd name="connsiteX153" fmla="*/ 178938 w 572723"/>
                <a:gd name="connsiteY153" fmla="*/ 21473 h 606061"/>
                <a:gd name="connsiteX154" fmla="*/ 162891 w 572723"/>
                <a:gd name="connsiteY154" fmla="*/ 31500 h 606061"/>
                <a:gd name="connsiteX155" fmla="*/ 154868 w 572723"/>
                <a:gd name="connsiteY155" fmla="*/ 36513 h 606061"/>
                <a:gd name="connsiteX156" fmla="*/ 149853 w 572723"/>
                <a:gd name="connsiteY156" fmla="*/ 41527 h 606061"/>
                <a:gd name="connsiteX157" fmla="*/ 145841 w 572723"/>
                <a:gd name="connsiteY157" fmla="*/ 40524 h 606061"/>
                <a:gd name="connsiteX158" fmla="*/ 144838 w 572723"/>
                <a:gd name="connsiteY158" fmla="*/ 41527 h 606061"/>
                <a:gd name="connsiteX159" fmla="*/ 140827 w 572723"/>
                <a:gd name="connsiteY159" fmla="*/ 42530 h 606061"/>
                <a:gd name="connsiteX160" fmla="*/ 127788 w 572723"/>
                <a:gd name="connsiteY160" fmla="*/ 52557 h 606061"/>
                <a:gd name="connsiteX161" fmla="*/ 115753 w 572723"/>
                <a:gd name="connsiteY161" fmla="*/ 64590 h 606061"/>
                <a:gd name="connsiteX162" fmla="*/ 121771 w 572723"/>
                <a:gd name="connsiteY162" fmla="*/ 52557 h 606061"/>
                <a:gd name="connsiteX163" fmla="*/ 122774 w 572723"/>
                <a:gd name="connsiteY163" fmla="*/ 52557 h 606061"/>
                <a:gd name="connsiteX164" fmla="*/ 125783 w 572723"/>
                <a:gd name="connsiteY164" fmla="*/ 47543 h 606061"/>
                <a:gd name="connsiteX165" fmla="*/ 112744 w 572723"/>
                <a:gd name="connsiteY165" fmla="*/ 59576 h 606061"/>
                <a:gd name="connsiteX166" fmla="*/ 109736 w 572723"/>
                <a:gd name="connsiteY166" fmla="*/ 61582 h 606061"/>
                <a:gd name="connsiteX167" fmla="*/ 109736 w 572723"/>
                <a:gd name="connsiteY167" fmla="*/ 61582 h 606061"/>
                <a:gd name="connsiteX168" fmla="*/ 107730 w 572723"/>
                <a:gd name="connsiteY168" fmla="*/ 61582 h 606061"/>
                <a:gd name="connsiteX169" fmla="*/ 107730 w 572723"/>
                <a:gd name="connsiteY169" fmla="*/ 60579 h 606061"/>
                <a:gd name="connsiteX170" fmla="*/ 96697 w 572723"/>
                <a:gd name="connsiteY170" fmla="*/ 70606 h 606061"/>
                <a:gd name="connsiteX171" fmla="*/ 83659 w 572723"/>
                <a:gd name="connsiteY171" fmla="*/ 86650 h 606061"/>
                <a:gd name="connsiteX172" fmla="*/ 81653 w 572723"/>
                <a:gd name="connsiteY172" fmla="*/ 90661 h 606061"/>
                <a:gd name="connsiteX173" fmla="*/ 61595 w 572723"/>
                <a:gd name="connsiteY173" fmla="*/ 114726 h 606061"/>
                <a:gd name="connsiteX174" fmla="*/ 64603 w 572723"/>
                <a:gd name="connsiteY174" fmla="*/ 115729 h 606061"/>
                <a:gd name="connsiteX175" fmla="*/ 59589 w 572723"/>
                <a:gd name="connsiteY175" fmla="*/ 123751 h 606061"/>
                <a:gd name="connsiteX176" fmla="*/ 54574 w 572723"/>
                <a:gd name="connsiteY176" fmla="*/ 125756 h 606061"/>
                <a:gd name="connsiteX177" fmla="*/ 49559 w 572723"/>
                <a:gd name="connsiteY177" fmla="*/ 126759 h 606061"/>
                <a:gd name="connsiteX178" fmla="*/ 43542 w 572723"/>
                <a:gd name="connsiteY178" fmla="*/ 138792 h 606061"/>
                <a:gd name="connsiteX179" fmla="*/ 42539 w 572723"/>
                <a:gd name="connsiteY179" fmla="*/ 146813 h 606061"/>
                <a:gd name="connsiteX180" fmla="*/ 34515 w 572723"/>
                <a:gd name="connsiteY180" fmla="*/ 158846 h 606061"/>
                <a:gd name="connsiteX181" fmla="*/ 32509 w 572723"/>
                <a:gd name="connsiteY181" fmla="*/ 156841 h 606061"/>
                <a:gd name="connsiteX182" fmla="*/ 22480 w 572723"/>
                <a:gd name="connsiteY182" fmla="*/ 175892 h 606061"/>
                <a:gd name="connsiteX183" fmla="*/ 19471 w 572723"/>
                <a:gd name="connsiteY183" fmla="*/ 196950 h 606061"/>
                <a:gd name="connsiteX184" fmla="*/ 17465 w 572723"/>
                <a:gd name="connsiteY184" fmla="*/ 204971 h 60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6061">
                  <a:moveTo>
                    <a:pt x="17465" y="204971"/>
                  </a:moveTo>
                  <a:lnTo>
                    <a:pt x="15460" y="211990"/>
                  </a:lnTo>
                  <a:cubicBezTo>
                    <a:pt x="20474" y="187925"/>
                    <a:pt x="29501" y="163860"/>
                    <a:pt x="40533" y="140797"/>
                  </a:cubicBezTo>
                  <a:cubicBezTo>
                    <a:pt x="25489" y="163860"/>
                    <a:pt x="12451" y="192939"/>
                    <a:pt x="6433" y="221015"/>
                  </a:cubicBezTo>
                  <a:cubicBezTo>
                    <a:pt x="415" y="249091"/>
                    <a:pt x="1418" y="277168"/>
                    <a:pt x="8439" y="298225"/>
                  </a:cubicBezTo>
                  <a:cubicBezTo>
                    <a:pt x="4427" y="300230"/>
                    <a:pt x="1418" y="315271"/>
                    <a:pt x="415" y="329309"/>
                  </a:cubicBezTo>
                  <a:cubicBezTo>
                    <a:pt x="-588" y="343348"/>
                    <a:pt x="415" y="357386"/>
                    <a:pt x="1418" y="357386"/>
                  </a:cubicBezTo>
                  <a:cubicBezTo>
                    <a:pt x="4427" y="368416"/>
                    <a:pt x="7436" y="379446"/>
                    <a:pt x="10445" y="390476"/>
                  </a:cubicBezTo>
                  <a:cubicBezTo>
                    <a:pt x="8439" y="382454"/>
                    <a:pt x="6433" y="375435"/>
                    <a:pt x="4427" y="367413"/>
                  </a:cubicBezTo>
                  <a:cubicBezTo>
                    <a:pt x="6433" y="374432"/>
                    <a:pt x="8439" y="382454"/>
                    <a:pt x="10445" y="390476"/>
                  </a:cubicBezTo>
                  <a:cubicBezTo>
                    <a:pt x="15460" y="407522"/>
                    <a:pt x="21477" y="425571"/>
                    <a:pt x="29501" y="443620"/>
                  </a:cubicBezTo>
                  <a:cubicBezTo>
                    <a:pt x="37524" y="461669"/>
                    <a:pt x="47553" y="478716"/>
                    <a:pt x="60592" y="494759"/>
                  </a:cubicBezTo>
                  <a:cubicBezTo>
                    <a:pt x="86668" y="525844"/>
                    <a:pt x="120768" y="549909"/>
                    <a:pt x="156874" y="567958"/>
                  </a:cubicBezTo>
                  <a:cubicBezTo>
                    <a:pt x="176932" y="577985"/>
                    <a:pt x="216047" y="592024"/>
                    <a:pt x="257167" y="599043"/>
                  </a:cubicBezTo>
                  <a:cubicBezTo>
                    <a:pt x="278229" y="603054"/>
                    <a:pt x="299291" y="605059"/>
                    <a:pt x="317344" y="606062"/>
                  </a:cubicBezTo>
                  <a:cubicBezTo>
                    <a:pt x="336399" y="606062"/>
                    <a:pt x="353449" y="606062"/>
                    <a:pt x="364481" y="605059"/>
                  </a:cubicBezTo>
                  <a:cubicBezTo>
                    <a:pt x="371502" y="604056"/>
                    <a:pt x="378522" y="604056"/>
                    <a:pt x="385543" y="602051"/>
                  </a:cubicBezTo>
                  <a:cubicBezTo>
                    <a:pt x="373508" y="604056"/>
                    <a:pt x="373508" y="603054"/>
                    <a:pt x="362476" y="604056"/>
                  </a:cubicBezTo>
                  <a:cubicBezTo>
                    <a:pt x="390558" y="598040"/>
                    <a:pt x="415631" y="589015"/>
                    <a:pt x="438699" y="576983"/>
                  </a:cubicBezTo>
                  <a:cubicBezTo>
                    <a:pt x="433684" y="577985"/>
                    <a:pt x="432681" y="576983"/>
                    <a:pt x="422652" y="578988"/>
                  </a:cubicBezTo>
                  <a:cubicBezTo>
                    <a:pt x="426664" y="577985"/>
                    <a:pt x="430675" y="576983"/>
                    <a:pt x="434687" y="574977"/>
                  </a:cubicBezTo>
                  <a:cubicBezTo>
                    <a:pt x="444716" y="567958"/>
                    <a:pt x="467784" y="553920"/>
                    <a:pt x="476810" y="544896"/>
                  </a:cubicBezTo>
                  <a:cubicBezTo>
                    <a:pt x="475807" y="547904"/>
                    <a:pt x="483831" y="541887"/>
                    <a:pt x="490852" y="535871"/>
                  </a:cubicBezTo>
                  <a:lnTo>
                    <a:pt x="487843" y="536874"/>
                  </a:lnTo>
                  <a:cubicBezTo>
                    <a:pt x="500881" y="525844"/>
                    <a:pt x="512916" y="511806"/>
                    <a:pt x="521943" y="496765"/>
                  </a:cubicBezTo>
                  <a:cubicBezTo>
                    <a:pt x="530969" y="481724"/>
                    <a:pt x="537990" y="465680"/>
                    <a:pt x="543004" y="452645"/>
                  </a:cubicBezTo>
                  <a:cubicBezTo>
                    <a:pt x="544007" y="448634"/>
                    <a:pt x="546013" y="446628"/>
                    <a:pt x="547016" y="444623"/>
                  </a:cubicBezTo>
                  <a:cubicBezTo>
                    <a:pt x="549022" y="435598"/>
                    <a:pt x="552031" y="426574"/>
                    <a:pt x="553034" y="417549"/>
                  </a:cubicBezTo>
                  <a:cubicBezTo>
                    <a:pt x="555039" y="420557"/>
                    <a:pt x="560054" y="395489"/>
                    <a:pt x="559051" y="409528"/>
                  </a:cubicBezTo>
                  <a:cubicBezTo>
                    <a:pt x="561057" y="388470"/>
                    <a:pt x="566072" y="369418"/>
                    <a:pt x="566072" y="350367"/>
                  </a:cubicBezTo>
                  <a:cubicBezTo>
                    <a:pt x="571086" y="317277"/>
                    <a:pt x="575098" y="281179"/>
                    <a:pt x="571086" y="244078"/>
                  </a:cubicBezTo>
                  <a:cubicBezTo>
                    <a:pt x="567075" y="206977"/>
                    <a:pt x="552031" y="169876"/>
                    <a:pt x="528963" y="142802"/>
                  </a:cubicBezTo>
                  <a:lnTo>
                    <a:pt x="528963" y="144808"/>
                  </a:lnTo>
                  <a:cubicBezTo>
                    <a:pt x="512916" y="125756"/>
                    <a:pt x="493860" y="112721"/>
                    <a:pt x="469790" y="94672"/>
                  </a:cubicBezTo>
                  <a:cubicBezTo>
                    <a:pt x="459760" y="89658"/>
                    <a:pt x="447725" y="84644"/>
                    <a:pt x="437696" y="81636"/>
                  </a:cubicBezTo>
                  <a:cubicBezTo>
                    <a:pt x="432681" y="79631"/>
                    <a:pt x="427667" y="78628"/>
                    <a:pt x="422652" y="78628"/>
                  </a:cubicBezTo>
                  <a:cubicBezTo>
                    <a:pt x="418640" y="78628"/>
                    <a:pt x="414628" y="77625"/>
                    <a:pt x="412623" y="78628"/>
                  </a:cubicBezTo>
                  <a:cubicBezTo>
                    <a:pt x="406605" y="77625"/>
                    <a:pt x="401590" y="76623"/>
                    <a:pt x="397579" y="75620"/>
                  </a:cubicBezTo>
                  <a:cubicBezTo>
                    <a:pt x="392564" y="75620"/>
                    <a:pt x="388552" y="74617"/>
                    <a:pt x="384540" y="74617"/>
                  </a:cubicBezTo>
                  <a:cubicBezTo>
                    <a:pt x="380528" y="74617"/>
                    <a:pt x="376517" y="74617"/>
                    <a:pt x="372505" y="74617"/>
                  </a:cubicBezTo>
                  <a:cubicBezTo>
                    <a:pt x="368493" y="74617"/>
                    <a:pt x="363478" y="74617"/>
                    <a:pt x="357461" y="75620"/>
                  </a:cubicBezTo>
                  <a:cubicBezTo>
                    <a:pt x="360470" y="76623"/>
                    <a:pt x="355455" y="77625"/>
                    <a:pt x="350440" y="78628"/>
                  </a:cubicBezTo>
                  <a:cubicBezTo>
                    <a:pt x="346429" y="79631"/>
                    <a:pt x="341414" y="80633"/>
                    <a:pt x="347432" y="80633"/>
                  </a:cubicBezTo>
                  <a:cubicBezTo>
                    <a:pt x="361473" y="83642"/>
                    <a:pt x="362476" y="80633"/>
                    <a:pt x="374511" y="83642"/>
                  </a:cubicBezTo>
                  <a:lnTo>
                    <a:pt x="374511" y="82639"/>
                  </a:lnTo>
                  <a:cubicBezTo>
                    <a:pt x="402593" y="86650"/>
                    <a:pt x="428669" y="97680"/>
                    <a:pt x="451737" y="113723"/>
                  </a:cubicBezTo>
                  <a:cubicBezTo>
                    <a:pt x="474804" y="129767"/>
                    <a:pt x="494863" y="149822"/>
                    <a:pt x="507902" y="173887"/>
                  </a:cubicBezTo>
                  <a:cubicBezTo>
                    <a:pt x="518934" y="188928"/>
                    <a:pt x="525954" y="206977"/>
                    <a:pt x="528963" y="226029"/>
                  </a:cubicBezTo>
                  <a:cubicBezTo>
                    <a:pt x="532975" y="245080"/>
                    <a:pt x="532975" y="266138"/>
                    <a:pt x="531972" y="286192"/>
                  </a:cubicBezTo>
                  <a:cubicBezTo>
                    <a:pt x="530969" y="308252"/>
                    <a:pt x="527960" y="332318"/>
                    <a:pt x="524951" y="355380"/>
                  </a:cubicBezTo>
                  <a:cubicBezTo>
                    <a:pt x="521943" y="378443"/>
                    <a:pt x="518934" y="400503"/>
                    <a:pt x="513919" y="418552"/>
                  </a:cubicBezTo>
                  <a:cubicBezTo>
                    <a:pt x="511913" y="427577"/>
                    <a:pt x="507902" y="432590"/>
                    <a:pt x="503890" y="439609"/>
                  </a:cubicBezTo>
                  <a:cubicBezTo>
                    <a:pt x="497872" y="455653"/>
                    <a:pt x="489849" y="472699"/>
                    <a:pt x="477813" y="487740"/>
                  </a:cubicBezTo>
                  <a:cubicBezTo>
                    <a:pt x="465778" y="502781"/>
                    <a:pt x="450734" y="515816"/>
                    <a:pt x="434687" y="525844"/>
                  </a:cubicBezTo>
                  <a:cubicBezTo>
                    <a:pt x="435690" y="525844"/>
                    <a:pt x="435690" y="524841"/>
                    <a:pt x="436693" y="524841"/>
                  </a:cubicBezTo>
                  <a:cubicBezTo>
                    <a:pt x="419643" y="534868"/>
                    <a:pt x="404599" y="538879"/>
                    <a:pt x="385543" y="543893"/>
                  </a:cubicBezTo>
                  <a:cubicBezTo>
                    <a:pt x="385543" y="544896"/>
                    <a:pt x="382534" y="545898"/>
                    <a:pt x="381531" y="545898"/>
                  </a:cubicBezTo>
                  <a:cubicBezTo>
                    <a:pt x="380528" y="544896"/>
                    <a:pt x="372505" y="546901"/>
                    <a:pt x="361473" y="548906"/>
                  </a:cubicBezTo>
                  <a:cubicBezTo>
                    <a:pt x="350440" y="550912"/>
                    <a:pt x="335396" y="552917"/>
                    <a:pt x="320352" y="554923"/>
                  </a:cubicBezTo>
                  <a:cubicBezTo>
                    <a:pt x="289261" y="556928"/>
                    <a:pt x="257167" y="553920"/>
                    <a:pt x="254158" y="551915"/>
                  </a:cubicBezTo>
                  <a:cubicBezTo>
                    <a:pt x="252153" y="551915"/>
                    <a:pt x="250147" y="550912"/>
                    <a:pt x="247138" y="550912"/>
                  </a:cubicBezTo>
                  <a:cubicBezTo>
                    <a:pt x="226076" y="545898"/>
                    <a:pt x="204012" y="537876"/>
                    <a:pt x="184956" y="527849"/>
                  </a:cubicBezTo>
                  <a:cubicBezTo>
                    <a:pt x="165900" y="518825"/>
                    <a:pt x="148850" y="507795"/>
                    <a:pt x="133806" y="498770"/>
                  </a:cubicBezTo>
                  <a:cubicBezTo>
                    <a:pt x="126786" y="495762"/>
                    <a:pt x="118762" y="491751"/>
                    <a:pt x="112744" y="488743"/>
                  </a:cubicBezTo>
                  <a:cubicBezTo>
                    <a:pt x="108733" y="483729"/>
                    <a:pt x="105724" y="484732"/>
                    <a:pt x="100709" y="478716"/>
                  </a:cubicBezTo>
                  <a:cubicBezTo>
                    <a:pt x="91683" y="460667"/>
                    <a:pt x="84662" y="452645"/>
                    <a:pt x="87671" y="462672"/>
                  </a:cubicBezTo>
                  <a:cubicBezTo>
                    <a:pt x="76639" y="450639"/>
                    <a:pt x="69618" y="436601"/>
                    <a:pt x="64603" y="423566"/>
                  </a:cubicBezTo>
                  <a:cubicBezTo>
                    <a:pt x="61595" y="417549"/>
                    <a:pt x="58586" y="411533"/>
                    <a:pt x="56580" y="405517"/>
                  </a:cubicBezTo>
                  <a:cubicBezTo>
                    <a:pt x="54574" y="400503"/>
                    <a:pt x="54574" y="396492"/>
                    <a:pt x="55577" y="393484"/>
                  </a:cubicBezTo>
                  <a:cubicBezTo>
                    <a:pt x="51565" y="379446"/>
                    <a:pt x="53571" y="383457"/>
                    <a:pt x="51565" y="367413"/>
                  </a:cubicBezTo>
                  <a:cubicBezTo>
                    <a:pt x="52568" y="365408"/>
                    <a:pt x="49559" y="355380"/>
                    <a:pt x="47553" y="345353"/>
                  </a:cubicBezTo>
                  <a:cubicBezTo>
                    <a:pt x="45548" y="335326"/>
                    <a:pt x="43542" y="325299"/>
                    <a:pt x="43542" y="323293"/>
                  </a:cubicBezTo>
                  <a:lnTo>
                    <a:pt x="43542" y="326301"/>
                  </a:lnTo>
                  <a:cubicBezTo>
                    <a:pt x="42539" y="307249"/>
                    <a:pt x="47553" y="295217"/>
                    <a:pt x="48556" y="278170"/>
                  </a:cubicBezTo>
                  <a:cubicBezTo>
                    <a:pt x="50562" y="253102"/>
                    <a:pt x="54574" y="228034"/>
                    <a:pt x="61595" y="203969"/>
                  </a:cubicBezTo>
                  <a:cubicBezTo>
                    <a:pt x="67612" y="179903"/>
                    <a:pt x="77641" y="156841"/>
                    <a:pt x="89677" y="137789"/>
                  </a:cubicBezTo>
                  <a:cubicBezTo>
                    <a:pt x="87671" y="135783"/>
                    <a:pt x="85665" y="146813"/>
                    <a:pt x="82656" y="145811"/>
                  </a:cubicBezTo>
                  <a:cubicBezTo>
                    <a:pt x="95694" y="121745"/>
                    <a:pt x="113747" y="102693"/>
                    <a:pt x="132803" y="85647"/>
                  </a:cubicBezTo>
                  <a:cubicBezTo>
                    <a:pt x="136815" y="82639"/>
                    <a:pt x="141830" y="80633"/>
                    <a:pt x="143835" y="79631"/>
                  </a:cubicBezTo>
                  <a:cubicBezTo>
                    <a:pt x="150856" y="74617"/>
                    <a:pt x="146844" y="75620"/>
                    <a:pt x="151859" y="72612"/>
                  </a:cubicBezTo>
                  <a:lnTo>
                    <a:pt x="153865" y="73614"/>
                  </a:lnTo>
                  <a:cubicBezTo>
                    <a:pt x="159882" y="66595"/>
                    <a:pt x="165900" y="68601"/>
                    <a:pt x="171918" y="62584"/>
                  </a:cubicBezTo>
                  <a:cubicBezTo>
                    <a:pt x="171918" y="61582"/>
                    <a:pt x="173923" y="59576"/>
                    <a:pt x="176932" y="58573"/>
                  </a:cubicBezTo>
                  <a:cubicBezTo>
                    <a:pt x="177935" y="60579"/>
                    <a:pt x="184956" y="53560"/>
                    <a:pt x="184956" y="56568"/>
                  </a:cubicBezTo>
                  <a:lnTo>
                    <a:pt x="184956" y="56568"/>
                  </a:lnTo>
                  <a:cubicBezTo>
                    <a:pt x="186962" y="55565"/>
                    <a:pt x="187964" y="55565"/>
                    <a:pt x="189970" y="54563"/>
                  </a:cubicBezTo>
                  <a:cubicBezTo>
                    <a:pt x="190973" y="53560"/>
                    <a:pt x="197994" y="47543"/>
                    <a:pt x="206018" y="43533"/>
                  </a:cubicBezTo>
                  <a:cubicBezTo>
                    <a:pt x="213038" y="38519"/>
                    <a:pt x="221062" y="34508"/>
                    <a:pt x="223067" y="33505"/>
                  </a:cubicBezTo>
                  <a:lnTo>
                    <a:pt x="225073" y="33505"/>
                  </a:lnTo>
                  <a:cubicBezTo>
                    <a:pt x="230088" y="32503"/>
                    <a:pt x="231091" y="30497"/>
                    <a:pt x="228082" y="30497"/>
                  </a:cubicBezTo>
                  <a:lnTo>
                    <a:pt x="234100" y="29494"/>
                  </a:lnTo>
                  <a:lnTo>
                    <a:pt x="233097" y="29494"/>
                  </a:lnTo>
                  <a:lnTo>
                    <a:pt x="239114" y="28492"/>
                  </a:lnTo>
                  <a:cubicBezTo>
                    <a:pt x="240117" y="28492"/>
                    <a:pt x="241120" y="29494"/>
                    <a:pt x="240117" y="30497"/>
                  </a:cubicBezTo>
                  <a:cubicBezTo>
                    <a:pt x="243126" y="29494"/>
                    <a:pt x="247138" y="28492"/>
                    <a:pt x="250147" y="28492"/>
                  </a:cubicBezTo>
                  <a:cubicBezTo>
                    <a:pt x="241120" y="28492"/>
                    <a:pt x="229085" y="28492"/>
                    <a:pt x="219056" y="29494"/>
                  </a:cubicBezTo>
                  <a:cubicBezTo>
                    <a:pt x="223067" y="27489"/>
                    <a:pt x="230088" y="27489"/>
                    <a:pt x="234100" y="25483"/>
                  </a:cubicBezTo>
                  <a:cubicBezTo>
                    <a:pt x="237109" y="25483"/>
                    <a:pt x="241120" y="25483"/>
                    <a:pt x="245132" y="25483"/>
                  </a:cubicBezTo>
                  <a:cubicBezTo>
                    <a:pt x="249144" y="25483"/>
                    <a:pt x="254158" y="25483"/>
                    <a:pt x="258170" y="25483"/>
                  </a:cubicBezTo>
                  <a:cubicBezTo>
                    <a:pt x="260176" y="25483"/>
                    <a:pt x="261179" y="22475"/>
                    <a:pt x="265191" y="23478"/>
                  </a:cubicBezTo>
                  <a:cubicBezTo>
                    <a:pt x="267197" y="25483"/>
                    <a:pt x="270205" y="23478"/>
                    <a:pt x="273214" y="24481"/>
                  </a:cubicBezTo>
                  <a:cubicBezTo>
                    <a:pt x="269202" y="25483"/>
                    <a:pt x="265191" y="25483"/>
                    <a:pt x="261179" y="25483"/>
                  </a:cubicBezTo>
                  <a:cubicBezTo>
                    <a:pt x="261179" y="26486"/>
                    <a:pt x="264188" y="26486"/>
                    <a:pt x="266194" y="26486"/>
                  </a:cubicBezTo>
                  <a:cubicBezTo>
                    <a:pt x="269202" y="26486"/>
                    <a:pt x="272211" y="26486"/>
                    <a:pt x="273214" y="26486"/>
                  </a:cubicBezTo>
                  <a:cubicBezTo>
                    <a:pt x="274217" y="25483"/>
                    <a:pt x="282241" y="26486"/>
                    <a:pt x="287255" y="26486"/>
                  </a:cubicBezTo>
                  <a:cubicBezTo>
                    <a:pt x="285249" y="28492"/>
                    <a:pt x="291267" y="28492"/>
                    <a:pt x="293273" y="29494"/>
                  </a:cubicBezTo>
                  <a:cubicBezTo>
                    <a:pt x="296282" y="29494"/>
                    <a:pt x="298288" y="29494"/>
                    <a:pt x="297285" y="28492"/>
                  </a:cubicBezTo>
                  <a:cubicBezTo>
                    <a:pt x="298288" y="26486"/>
                    <a:pt x="285249" y="25483"/>
                    <a:pt x="289261" y="23478"/>
                  </a:cubicBezTo>
                  <a:cubicBezTo>
                    <a:pt x="290264" y="24481"/>
                    <a:pt x="296282" y="24481"/>
                    <a:pt x="300294" y="25483"/>
                  </a:cubicBezTo>
                  <a:cubicBezTo>
                    <a:pt x="300294" y="24481"/>
                    <a:pt x="298288" y="24481"/>
                    <a:pt x="300294" y="23478"/>
                  </a:cubicBezTo>
                  <a:cubicBezTo>
                    <a:pt x="304305" y="24481"/>
                    <a:pt x="308317" y="23478"/>
                    <a:pt x="310323" y="25483"/>
                  </a:cubicBezTo>
                  <a:cubicBezTo>
                    <a:pt x="309320" y="25483"/>
                    <a:pt x="308317" y="25483"/>
                    <a:pt x="307314" y="24481"/>
                  </a:cubicBezTo>
                  <a:cubicBezTo>
                    <a:pt x="309320" y="25483"/>
                    <a:pt x="302300" y="25483"/>
                    <a:pt x="296282" y="26486"/>
                  </a:cubicBezTo>
                  <a:cubicBezTo>
                    <a:pt x="289261" y="27489"/>
                    <a:pt x="283243" y="29494"/>
                    <a:pt x="286252" y="28492"/>
                  </a:cubicBezTo>
                  <a:cubicBezTo>
                    <a:pt x="285249" y="28492"/>
                    <a:pt x="292270" y="26486"/>
                    <a:pt x="299291" y="25483"/>
                  </a:cubicBezTo>
                  <a:cubicBezTo>
                    <a:pt x="306311" y="25483"/>
                    <a:pt x="313332" y="24481"/>
                    <a:pt x="311326" y="24481"/>
                  </a:cubicBezTo>
                  <a:cubicBezTo>
                    <a:pt x="308317" y="23478"/>
                    <a:pt x="314335" y="22475"/>
                    <a:pt x="311326" y="21473"/>
                  </a:cubicBezTo>
                  <a:lnTo>
                    <a:pt x="307314" y="22475"/>
                  </a:lnTo>
                  <a:cubicBezTo>
                    <a:pt x="303302" y="21473"/>
                    <a:pt x="302300" y="18464"/>
                    <a:pt x="303302" y="18464"/>
                  </a:cubicBezTo>
                  <a:cubicBezTo>
                    <a:pt x="307314" y="19467"/>
                    <a:pt x="301297" y="20470"/>
                    <a:pt x="296282" y="21473"/>
                  </a:cubicBezTo>
                  <a:cubicBezTo>
                    <a:pt x="291267" y="22475"/>
                    <a:pt x="285249" y="24481"/>
                    <a:pt x="288258" y="23478"/>
                  </a:cubicBezTo>
                  <a:lnTo>
                    <a:pt x="290264" y="24481"/>
                  </a:lnTo>
                  <a:cubicBezTo>
                    <a:pt x="293273" y="24481"/>
                    <a:pt x="300294" y="23478"/>
                    <a:pt x="302300" y="25483"/>
                  </a:cubicBezTo>
                  <a:cubicBezTo>
                    <a:pt x="302300" y="24481"/>
                    <a:pt x="306311" y="24481"/>
                    <a:pt x="309320" y="24481"/>
                  </a:cubicBezTo>
                  <a:lnTo>
                    <a:pt x="310323" y="24481"/>
                  </a:lnTo>
                  <a:cubicBezTo>
                    <a:pt x="313332" y="24481"/>
                    <a:pt x="317344" y="25483"/>
                    <a:pt x="316341" y="23478"/>
                  </a:cubicBezTo>
                  <a:cubicBezTo>
                    <a:pt x="307314" y="22475"/>
                    <a:pt x="311326" y="19467"/>
                    <a:pt x="314335" y="16459"/>
                  </a:cubicBezTo>
                  <a:cubicBezTo>
                    <a:pt x="318346" y="13451"/>
                    <a:pt x="322358" y="11445"/>
                    <a:pt x="313332" y="9440"/>
                  </a:cubicBezTo>
                  <a:cubicBezTo>
                    <a:pt x="320352" y="13451"/>
                    <a:pt x="310323" y="11445"/>
                    <a:pt x="302300" y="10443"/>
                  </a:cubicBezTo>
                  <a:cubicBezTo>
                    <a:pt x="301297" y="9440"/>
                    <a:pt x="298288" y="7434"/>
                    <a:pt x="292270" y="6432"/>
                  </a:cubicBezTo>
                  <a:cubicBezTo>
                    <a:pt x="287255" y="6432"/>
                    <a:pt x="289261" y="7434"/>
                    <a:pt x="288258" y="7434"/>
                  </a:cubicBezTo>
                  <a:cubicBezTo>
                    <a:pt x="285249" y="6432"/>
                    <a:pt x="280235" y="6432"/>
                    <a:pt x="281238" y="4426"/>
                  </a:cubicBezTo>
                  <a:cubicBezTo>
                    <a:pt x="277226" y="6432"/>
                    <a:pt x="275220" y="3424"/>
                    <a:pt x="270205" y="4426"/>
                  </a:cubicBezTo>
                  <a:cubicBezTo>
                    <a:pt x="266194" y="5429"/>
                    <a:pt x="270205" y="5429"/>
                    <a:pt x="267197" y="6432"/>
                  </a:cubicBezTo>
                  <a:cubicBezTo>
                    <a:pt x="261179" y="6432"/>
                    <a:pt x="252153" y="7434"/>
                    <a:pt x="247138" y="7434"/>
                  </a:cubicBezTo>
                  <a:cubicBezTo>
                    <a:pt x="245132" y="6432"/>
                    <a:pt x="239114" y="5429"/>
                    <a:pt x="243126" y="2421"/>
                  </a:cubicBezTo>
                  <a:cubicBezTo>
                    <a:pt x="253155" y="1418"/>
                    <a:pt x="240117" y="6432"/>
                    <a:pt x="250147" y="4426"/>
                  </a:cubicBezTo>
                  <a:cubicBezTo>
                    <a:pt x="245132" y="2421"/>
                    <a:pt x="259173" y="2421"/>
                    <a:pt x="260176" y="415"/>
                  </a:cubicBezTo>
                  <a:cubicBezTo>
                    <a:pt x="257167" y="-587"/>
                    <a:pt x="250147" y="415"/>
                    <a:pt x="245132" y="1418"/>
                  </a:cubicBezTo>
                  <a:lnTo>
                    <a:pt x="246135" y="1418"/>
                  </a:lnTo>
                  <a:cubicBezTo>
                    <a:pt x="241120" y="2421"/>
                    <a:pt x="232094" y="5429"/>
                    <a:pt x="226076" y="4426"/>
                  </a:cubicBezTo>
                  <a:cubicBezTo>
                    <a:pt x="227079" y="3424"/>
                    <a:pt x="225073" y="2421"/>
                    <a:pt x="228082" y="1418"/>
                  </a:cubicBezTo>
                  <a:lnTo>
                    <a:pt x="220059" y="4426"/>
                  </a:lnTo>
                  <a:cubicBezTo>
                    <a:pt x="219056" y="5429"/>
                    <a:pt x="218053" y="5429"/>
                    <a:pt x="220059" y="5429"/>
                  </a:cubicBezTo>
                  <a:cubicBezTo>
                    <a:pt x="217050" y="7434"/>
                    <a:pt x="214041" y="7434"/>
                    <a:pt x="211032" y="7434"/>
                  </a:cubicBezTo>
                  <a:cubicBezTo>
                    <a:pt x="210029" y="7434"/>
                    <a:pt x="202006" y="10443"/>
                    <a:pt x="194985" y="15456"/>
                  </a:cubicBezTo>
                  <a:cubicBezTo>
                    <a:pt x="186962" y="19467"/>
                    <a:pt x="179941" y="24481"/>
                    <a:pt x="180944" y="24481"/>
                  </a:cubicBezTo>
                  <a:cubicBezTo>
                    <a:pt x="176932" y="26486"/>
                    <a:pt x="174926" y="25483"/>
                    <a:pt x="170915" y="28492"/>
                  </a:cubicBezTo>
                  <a:cubicBezTo>
                    <a:pt x="170915" y="28492"/>
                    <a:pt x="172920" y="27489"/>
                    <a:pt x="176932" y="25483"/>
                  </a:cubicBezTo>
                  <a:cubicBezTo>
                    <a:pt x="180944" y="23478"/>
                    <a:pt x="184956" y="20470"/>
                    <a:pt x="189970" y="17462"/>
                  </a:cubicBezTo>
                  <a:cubicBezTo>
                    <a:pt x="194985" y="15456"/>
                    <a:pt x="198997" y="12448"/>
                    <a:pt x="203009" y="10443"/>
                  </a:cubicBezTo>
                  <a:cubicBezTo>
                    <a:pt x="206018" y="9440"/>
                    <a:pt x="208023" y="8437"/>
                    <a:pt x="206018" y="8437"/>
                  </a:cubicBezTo>
                  <a:cubicBezTo>
                    <a:pt x="205015" y="8437"/>
                    <a:pt x="201003" y="9440"/>
                    <a:pt x="195988" y="12448"/>
                  </a:cubicBezTo>
                  <a:cubicBezTo>
                    <a:pt x="190973" y="14454"/>
                    <a:pt x="184956" y="18464"/>
                    <a:pt x="178938" y="21473"/>
                  </a:cubicBezTo>
                  <a:cubicBezTo>
                    <a:pt x="172920" y="24481"/>
                    <a:pt x="167906" y="28492"/>
                    <a:pt x="162891" y="31500"/>
                  </a:cubicBezTo>
                  <a:cubicBezTo>
                    <a:pt x="158879" y="34508"/>
                    <a:pt x="155871" y="36513"/>
                    <a:pt x="154868" y="36513"/>
                  </a:cubicBezTo>
                  <a:cubicBezTo>
                    <a:pt x="151859" y="38519"/>
                    <a:pt x="148850" y="41527"/>
                    <a:pt x="149853" y="41527"/>
                  </a:cubicBezTo>
                  <a:cubicBezTo>
                    <a:pt x="144838" y="44535"/>
                    <a:pt x="149853" y="38519"/>
                    <a:pt x="145841" y="40524"/>
                  </a:cubicBezTo>
                  <a:cubicBezTo>
                    <a:pt x="145841" y="40524"/>
                    <a:pt x="146844" y="40524"/>
                    <a:pt x="144838" y="41527"/>
                  </a:cubicBezTo>
                  <a:cubicBezTo>
                    <a:pt x="143835" y="41527"/>
                    <a:pt x="141830" y="42530"/>
                    <a:pt x="140827" y="42530"/>
                  </a:cubicBezTo>
                  <a:cubicBezTo>
                    <a:pt x="137818" y="46541"/>
                    <a:pt x="132803" y="49549"/>
                    <a:pt x="127788" y="52557"/>
                  </a:cubicBezTo>
                  <a:cubicBezTo>
                    <a:pt x="123777" y="56568"/>
                    <a:pt x="118762" y="60579"/>
                    <a:pt x="115753" y="64590"/>
                  </a:cubicBezTo>
                  <a:cubicBezTo>
                    <a:pt x="116756" y="61582"/>
                    <a:pt x="117759" y="57571"/>
                    <a:pt x="121771" y="52557"/>
                  </a:cubicBezTo>
                  <a:lnTo>
                    <a:pt x="122774" y="52557"/>
                  </a:lnTo>
                  <a:cubicBezTo>
                    <a:pt x="122774" y="51554"/>
                    <a:pt x="126786" y="47543"/>
                    <a:pt x="125783" y="47543"/>
                  </a:cubicBezTo>
                  <a:cubicBezTo>
                    <a:pt x="120768" y="50552"/>
                    <a:pt x="116756" y="54563"/>
                    <a:pt x="112744" y="59576"/>
                  </a:cubicBezTo>
                  <a:cubicBezTo>
                    <a:pt x="111742" y="60579"/>
                    <a:pt x="110739" y="60579"/>
                    <a:pt x="109736" y="61582"/>
                  </a:cubicBezTo>
                  <a:cubicBezTo>
                    <a:pt x="109736" y="61582"/>
                    <a:pt x="109736" y="61582"/>
                    <a:pt x="109736" y="61582"/>
                  </a:cubicBezTo>
                  <a:cubicBezTo>
                    <a:pt x="107730" y="62584"/>
                    <a:pt x="107730" y="62584"/>
                    <a:pt x="107730" y="61582"/>
                  </a:cubicBezTo>
                  <a:cubicBezTo>
                    <a:pt x="107730" y="61582"/>
                    <a:pt x="107730" y="61582"/>
                    <a:pt x="107730" y="60579"/>
                  </a:cubicBezTo>
                  <a:cubicBezTo>
                    <a:pt x="104721" y="60579"/>
                    <a:pt x="101712" y="65593"/>
                    <a:pt x="96697" y="70606"/>
                  </a:cubicBezTo>
                  <a:cubicBezTo>
                    <a:pt x="92685" y="76623"/>
                    <a:pt x="87671" y="82639"/>
                    <a:pt x="83659" y="86650"/>
                  </a:cubicBezTo>
                  <a:cubicBezTo>
                    <a:pt x="81653" y="89658"/>
                    <a:pt x="83659" y="87652"/>
                    <a:pt x="81653" y="90661"/>
                  </a:cubicBezTo>
                  <a:cubicBezTo>
                    <a:pt x="73630" y="98682"/>
                    <a:pt x="68615" y="104699"/>
                    <a:pt x="61595" y="114726"/>
                  </a:cubicBezTo>
                  <a:cubicBezTo>
                    <a:pt x="60592" y="118737"/>
                    <a:pt x="61595" y="119740"/>
                    <a:pt x="64603" y="115729"/>
                  </a:cubicBezTo>
                  <a:lnTo>
                    <a:pt x="59589" y="123751"/>
                  </a:lnTo>
                  <a:cubicBezTo>
                    <a:pt x="59589" y="119740"/>
                    <a:pt x="56580" y="122748"/>
                    <a:pt x="54574" y="125756"/>
                  </a:cubicBezTo>
                  <a:cubicBezTo>
                    <a:pt x="51565" y="128764"/>
                    <a:pt x="49559" y="131772"/>
                    <a:pt x="49559" y="126759"/>
                  </a:cubicBezTo>
                  <a:cubicBezTo>
                    <a:pt x="47553" y="128764"/>
                    <a:pt x="44545" y="133778"/>
                    <a:pt x="43542" y="138792"/>
                  </a:cubicBezTo>
                  <a:cubicBezTo>
                    <a:pt x="44545" y="139794"/>
                    <a:pt x="45548" y="140797"/>
                    <a:pt x="42539" y="146813"/>
                  </a:cubicBezTo>
                  <a:cubicBezTo>
                    <a:pt x="37524" y="154835"/>
                    <a:pt x="38527" y="152830"/>
                    <a:pt x="34515" y="158846"/>
                  </a:cubicBezTo>
                  <a:cubicBezTo>
                    <a:pt x="32509" y="159849"/>
                    <a:pt x="33512" y="156841"/>
                    <a:pt x="32509" y="156841"/>
                  </a:cubicBezTo>
                  <a:cubicBezTo>
                    <a:pt x="30504" y="167871"/>
                    <a:pt x="26492" y="164862"/>
                    <a:pt x="22480" y="175892"/>
                  </a:cubicBezTo>
                  <a:cubicBezTo>
                    <a:pt x="20474" y="182911"/>
                    <a:pt x="17465" y="195947"/>
                    <a:pt x="19471" y="196950"/>
                  </a:cubicBezTo>
                  <a:cubicBezTo>
                    <a:pt x="20474" y="206977"/>
                    <a:pt x="19471" y="205974"/>
                    <a:pt x="17465" y="204971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9EE11248-F3BF-864C-A177-EBFB23D8503C}"/>
              </a:ext>
            </a:extLst>
          </p:cNvPr>
          <p:cNvGrpSpPr/>
          <p:nvPr userDrawn="1"/>
        </p:nvGrpSpPr>
        <p:grpSpPr>
          <a:xfrm>
            <a:off x="1308674" y="3024887"/>
            <a:ext cx="592351" cy="906402"/>
            <a:chOff x="2203157" y="4098931"/>
            <a:chExt cx="592351" cy="906402"/>
          </a:xfrm>
        </p:grpSpPr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79CFF0CC-1C59-7142-A8CC-AF4FDFDE936E}"/>
                </a:ext>
              </a:extLst>
            </p:cNvPr>
            <p:cNvSpPr txBox="1"/>
            <p:nvPr/>
          </p:nvSpPr>
          <p:spPr>
            <a:xfrm>
              <a:off x="2267799" y="4098931"/>
              <a:ext cx="527709" cy="9064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29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2</a:t>
              </a:r>
            </a:p>
          </p:txBody>
        </p:sp>
        <p:sp>
          <p:nvSpPr>
            <p:cNvPr id="19" name="Kombinationstegning 18">
              <a:extLst>
                <a:ext uri="{FF2B5EF4-FFF2-40B4-BE49-F238E27FC236}">
                  <a16:creationId xmlns:a16="http://schemas.microsoft.com/office/drawing/2014/main" id="{98186A7F-E04F-A344-8C97-E1F4020EE1C7}"/>
                </a:ext>
              </a:extLst>
            </p:cNvPr>
            <p:cNvSpPr/>
            <p:nvPr/>
          </p:nvSpPr>
          <p:spPr>
            <a:xfrm>
              <a:off x="2203157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60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0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3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0 w 572724"/>
                <a:gd name="connsiteY85" fmla="*/ 56568 h 608067"/>
                <a:gd name="connsiteX86" fmla="*/ 206018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2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E6FEDFEE-F7B0-4148-A7EE-36285E92E9DE}"/>
              </a:ext>
            </a:extLst>
          </p:cNvPr>
          <p:cNvGrpSpPr/>
          <p:nvPr userDrawn="1"/>
        </p:nvGrpSpPr>
        <p:grpSpPr>
          <a:xfrm>
            <a:off x="1308673" y="3833454"/>
            <a:ext cx="627481" cy="870110"/>
            <a:chOff x="2960374" y="4076697"/>
            <a:chExt cx="627481" cy="870110"/>
          </a:xfrm>
        </p:grpSpPr>
        <p:sp>
          <p:nvSpPr>
            <p:cNvPr id="14" name="Tekstfelt 13">
              <a:extLst>
                <a:ext uri="{FF2B5EF4-FFF2-40B4-BE49-F238E27FC236}">
                  <a16:creationId xmlns:a16="http://schemas.microsoft.com/office/drawing/2014/main" id="{127A65BA-C169-D54B-B96E-F56314E0BB16}"/>
                </a:ext>
              </a:extLst>
            </p:cNvPr>
            <p:cNvSpPr txBox="1"/>
            <p:nvPr/>
          </p:nvSpPr>
          <p:spPr>
            <a:xfrm>
              <a:off x="3074573" y="4076697"/>
              <a:ext cx="513282" cy="87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5054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3</a:t>
              </a:r>
            </a:p>
          </p:txBody>
        </p:sp>
        <p:sp>
          <p:nvSpPr>
            <p:cNvPr id="20" name="Kombinationstegning 19">
              <a:extLst>
                <a:ext uri="{FF2B5EF4-FFF2-40B4-BE49-F238E27FC236}">
                  <a16:creationId xmlns:a16="http://schemas.microsoft.com/office/drawing/2014/main" id="{6EB7399E-C2DB-DD4F-B1F2-9C7FFD133BBE}"/>
                </a:ext>
              </a:extLst>
            </p:cNvPr>
            <p:cNvSpPr/>
            <p:nvPr/>
          </p:nvSpPr>
          <p:spPr>
            <a:xfrm>
              <a:off x="2960374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59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1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4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1 w 572724"/>
                <a:gd name="connsiteY85" fmla="*/ 56568 h 608067"/>
                <a:gd name="connsiteX86" fmla="*/ 206017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3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59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7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59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3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9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1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9" y="546901"/>
                    <a:pt x="372505" y="548906"/>
                    <a:pt x="361473" y="550912"/>
                  </a:cubicBezTo>
                  <a:cubicBezTo>
                    <a:pt x="350441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4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7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3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1" y="56568"/>
                  </a:cubicBezTo>
                  <a:cubicBezTo>
                    <a:pt x="190973" y="55565"/>
                    <a:pt x="197994" y="49549"/>
                    <a:pt x="206017" y="45538"/>
                  </a:cubicBezTo>
                  <a:cubicBezTo>
                    <a:pt x="213038" y="40524"/>
                    <a:pt x="221061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6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50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50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50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6" y="22475"/>
                    <a:pt x="296282" y="23478"/>
                  </a:cubicBezTo>
                  <a:cubicBezTo>
                    <a:pt x="291267" y="24481"/>
                    <a:pt x="285250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0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50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5" y="6432"/>
                    <a:pt x="246135" y="4426"/>
                  </a:cubicBezTo>
                  <a:cubicBezTo>
                    <a:pt x="241120" y="2421"/>
                    <a:pt x="255162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1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3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6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3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grpSp>
        <p:nvGrpSpPr>
          <p:cNvPr id="25" name="Gruppe 24">
            <a:extLst>
              <a:ext uri="{FF2B5EF4-FFF2-40B4-BE49-F238E27FC236}">
                <a16:creationId xmlns:a16="http://schemas.microsoft.com/office/drawing/2014/main" id="{18CE61A2-D431-9A4C-8373-1E05182494CA}"/>
              </a:ext>
            </a:extLst>
          </p:cNvPr>
          <p:cNvGrpSpPr/>
          <p:nvPr userDrawn="1"/>
        </p:nvGrpSpPr>
        <p:grpSpPr>
          <a:xfrm>
            <a:off x="1308676" y="4692804"/>
            <a:ext cx="577040" cy="833754"/>
            <a:chOff x="3696530" y="4107267"/>
            <a:chExt cx="577040" cy="833754"/>
          </a:xfrm>
        </p:grpSpPr>
        <p:sp>
          <p:nvSpPr>
            <p:cNvPr id="15" name="Tekstfelt 14">
              <a:extLst>
                <a:ext uri="{FF2B5EF4-FFF2-40B4-BE49-F238E27FC236}">
                  <a16:creationId xmlns:a16="http://schemas.microsoft.com/office/drawing/2014/main" id="{F99AFC48-91AC-5F4D-B792-9F3BC4563246}"/>
                </a:ext>
              </a:extLst>
            </p:cNvPr>
            <p:cNvSpPr txBox="1"/>
            <p:nvPr/>
          </p:nvSpPr>
          <p:spPr>
            <a:xfrm>
              <a:off x="3776318" y="4107267"/>
              <a:ext cx="497252" cy="8337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4818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4</a:t>
              </a:r>
            </a:p>
          </p:txBody>
        </p:sp>
        <p:sp>
          <p:nvSpPr>
            <p:cNvPr id="21" name="Kombinationstegning 20">
              <a:extLst>
                <a:ext uri="{FF2B5EF4-FFF2-40B4-BE49-F238E27FC236}">
                  <a16:creationId xmlns:a16="http://schemas.microsoft.com/office/drawing/2014/main" id="{37E26D19-BA0B-7B4A-98E7-0A65C7D39993}"/>
                </a:ext>
              </a:extLst>
            </p:cNvPr>
            <p:cNvSpPr/>
            <p:nvPr/>
          </p:nvSpPr>
          <p:spPr>
            <a:xfrm>
              <a:off x="3696530" y="4164662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3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5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3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3 h 608067"/>
                <a:gd name="connsiteX39" fmla="*/ 372505 w 572723"/>
                <a:gd name="connsiteY39" fmla="*/ 76623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1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9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4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3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7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1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4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7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3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2" y="606062"/>
                    <a:pt x="385543" y="604056"/>
                  </a:cubicBezTo>
                  <a:cubicBezTo>
                    <a:pt x="373508" y="606062"/>
                    <a:pt x="373508" y="605059"/>
                    <a:pt x="362475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89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3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8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1" y="82639"/>
                  </a:cubicBezTo>
                  <a:cubicBezTo>
                    <a:pt x="361473" y="85647"/>
                    <a:pt x="362475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2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2" y="462672"/>
                    <a:pt x="84662" y="454650"/>
                    <a:pt x="87671" y="464677"/>
                  </a:cubicBezTo>
                  <a:cubicBezTo>
                    <a:pt x="76638" y="452645"/>
                    <a:pt x="69618" y="438607"/>
                    <a:pt x="64603" y="425571"/>
                  </a:cubicBezTo>
                  <a:cubicBezTo>
                    <a:pt x="61594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9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4" y="205974"/>
                  </a:cubicBezTo>
                  <a:cubicBezTo>
                    <a:pt x="67612" y="181909"/>
                    <a:pt x="77641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3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7" y="64590"/>
                  </a:cubicBezTo>
                  <a:cubicBezTo>
                    <a:pt x="171917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1" y="57571"/>
                    <a:pt x="187964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6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0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3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3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5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7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1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4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3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4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  <p:sp>
        <p:nvSpPr>
          <p:cNvPr id="30" name="Pladsholder til tekst 2">
            <a:extLst>
              <a:ext uri="{FF2B5EF4-FFF2-40B4-BE49-F238E27FC236}">
                <a16:creationId xmlns:a16="http://schemas.microsoft.com/office/drawing/2014/main" id="{C9B57B85-8770-0841-BB19-40B7516950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79800" y="30920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1" name="Pladsholder til tekst 2">
            <a:extLst>
              <a:ext uri="{FF2B5EF4-FFF2-40B4-BE49-F238E27FC236}">
                <a16:creationId xmlns:a16="http://schemas.microsoft.com/office/drawing/2014/main" id="{E73C8752-A2E0-DC45-8EBA-D15AECFCAA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9800" y="39344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2" name="Pladsholder til tekst 2">
            <a:extLst>
              <a:ext uri="{FF2B5EF4-FFF2-40B4-BE49-F238E27FC236}">
                <a16:creationId xmlns:a16="http://schemas.microsoft.com/office/drawing/2014/main" id="{11E4C019-7294-044A-AF7C-F1E2E2E219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9800" y="47768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2893B3F6-3C9F-6B4F-BD6D-9C63D898DF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9800" y="5619244"/>
            <a:ext cx="9097800" cy="608067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2653686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563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a-DK" sz="3100" b="1" i="0" baseline="0">
              <a:latin typeface="Arial" panose="020B0604020202020204" pitchFamily="34" charset="0"/>
              <a:cs typeface="Open Sans Light" panose="020B060402020202020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10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" name="Rectangle 11"/>
          <p:cNvSpPr/>
          <p:nvPr userDrawn="1"/>
        </p:nvSpPr>
        <p:spPr>
          <a:xfrm>
            <a:off x="0" y="1736726"/>
            <a:ext cx="12192000" cy="4321174"/>
          </a:xfrm>
          <a:prstGeom prst="rect">
            <a:avLst/>
          </a:prstGeom>
          <a:solidFill>
            <a:srgbClr val="E5E5E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85608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KU 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 txBox="1">
            <a:spLocks noGrp="1"/>
          </p:cNvSpPr>
          <p:nvPr>
            <p:ph type="body" idx="4294967295"/>
          </p:nvPr>
        </p:nvSpPr>
        <p:spPr>
          <a:xfrm>
            <a:off x="914400" y="688580"/>
            <a:ext cx="10363196" cy="859846"/>
          </a:xfrm>
        </p:spPr>
        <p:txBody>
          <a:bodyPr/>
          <a:lstStyle>
            <a:lvl1pPr marL="0" indent="0">
              <a:buNone/>
              <a:defRPr sz="3000" b="1"/>
            </a:lvl1pPr>
          </a:lstStyle>
          <a:p>
            <a:pPr lvl="0"/>
            <a:r>
              <a:rPr lang="da-DK"/>
              <a:t>Klik for at redigere i overskrift</a:t>
            </a:r>
          </a:p>
        </p:txBody>
      </p:sp>
      <p:sp>
        <p:nvSpPr>
          <p:cNvPr id="3" name="Title Placeholder 1"/>
          <p:cNvSpPr txBox="1">
            <a:spLocks noGrp="1"/>
          </p:cNvSpPr>
          <p:nvPr>
            <p:ph type="title"/>
          </p:nvPr>
        </p:nvSpPr>
        <p:spPr>
          <a:xfrm>
            <a:off x="914400" y="456286"/>
            <a:ext cx="10363196" cy="211921"/>
          </a:xfrm>
        </p:spPr>
        <p:txBody>
          <a:bodyPr wrap="none" anchorCtr="0"/>
          <a:lstStyle>
            <a:lvl1pPr algn="l">
              <a:defRPr sz="1000" b="0"/>
            </a:lvl1pPr>
          </a:lstStyle>
          <a:p>
            <a:pPr lvl="0"/>
            <a:r>
              <a:rPr lang="da-DK"/>
              <a:t>Klik for at redigere i tracker</a:t>
            </a:r>
          </a:p>
        </p:txBody>
      </p:sp>
      <p:sp>
        <p:nvSpPr>
          <p:cNvPr id="4" name="Pladsholder til slidenummer 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E530F1A-E148-45AD-9E51-893326BE722B}" type="slidenum">
              <a:t>‹#›</a:t>
            </a:fld>
            <a:endParaRPr lang="da-DK"/>
          </a:p>
        </p:txBody>
      </p:sp>
      <p:sp>
        <p:nvSpPr>
          <p:cNvPr id="5" name="Pladsholder til sidefod 2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Sidefod på alle sider</a:t>
            </a:r>
          </a:p>
        </p:txBody>
      </p:sp>
    </p:spTree>
    <p:extLst>
      <p:ext uri="{BB962C8B-B14F-4D97-AF65-F5344CB8AC3E}">
        <p14:creationId xmlns:p14="http://schemas.microsoft.com/office/powerpoint/2010/main" val="3780672271"/>
      </p:ext>
    </p:extLst>
  </p:cSld>
  <p:clrMapOvr>
    <a:masterClrMapping/>
  </p:clrMapOvr>
  <p:hf sldNum="0" hdr="0" ftr="0" dt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23" indent="0" algn="ctr">
              <a:buNone/>
              <a:defRPr/>
            </a:lvl2pPr>
            <a:lvl3pPr marL="914446" indent="0" algn="ctr">
              <a:buNone/>
              <a:defRPr/>
            </a:lvl3pPr>
            <a:lvl4pPr marL="1371669" indent="0" algn="ctr">
              <a:buNone/>
              <a:defRPr/>
            </a:lvl4pPr>
            <a:lvl5pPr marL="1828891" indent="0" algn="ctr">
              <a:buNone/>
              <a:defRPr/>
            </a:lvl5pPr>
            <a:lvl6pPr marL="2286114" indent="0" algn="ctr">
              <a:buNone/>
              <a:defRPr/>
            </a:lvl6pPr>
            <a:lvl7pPr marL="2743337" indent="0" algn="ctr">
              <a:buNone/>
              <a:defRPr/>
            </a:lvl7pPr>
            <a:lvl8pPr marL="3200560" indent="0" algn="ctr">
              <a:buNone/>
              <a:defRPr/>
            </a:lvl8pPr>
            <a:lvl9pPr marL="3657783" indent="0" algn="ctr">
              <a:buNone/>
              <a:defRPr/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347200" y="6284168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888B9F-7A58-40FC-94C6-DE17AC819CA0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17386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asere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E1980FE7-9B07-E646-894E-3528B0359370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ekstbaseret </a:t>
            </a:r>
            <a:br>
              <a:rPr lang="da-DK" sz="11501" b="1">
                <a:solidFill>
                  <a:srgbClr val="FFFFFF"/>
                </a:solidFill>
              </a:rPr>
            </a:br>
            <a:r>
              <a:rPr lang="da-DK" sz="11501" b="1">
                <a:solidFill>
                  <a:srgbClr val="FFFFFF"/>
                </a:solidFill>
              </a:rPr>
              <a:t>indhold</a:t>
            </a:r>
          </a:p>
        </p:txBody>
      </p:sp>
    </p:spTree>
    <p:extLst>
      <p:ext uri="{BB962C8B-B14F-4D97-AF65-F5344CB8AC3E}">
        <p14:creationId xmlns:p14="http://schemas.microsoft.com/office/powerpoint/2010/main" val="24625134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B340005-E0B7-A043-B055-7006507B18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25476662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) Indhold - 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22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noProof="0"/>
              <a:t>Klik for at redigere i overskrift</a:t>
            </a:r>
          </a:p>
          <a:p>
            <a:pPr lvl="0"/>
            <a:endParaRPr lang="da-DK" noProof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  <p:sp>
        <p:nvSpPr>
          <p:cNvPr id="1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4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288844" y="1731082"/>
            <a:ext cx="4041422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26906506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688583"/>
            <a:ext cx="10363200" cy="859843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30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56291"/>
            <a:ext cx="10363200" cy="211925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0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21871606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3652699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914401" y="655984"/>
            <a:ext cx="10366375" cy="5401917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18847711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mær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048D68E5-2222-BD40-9A9A-A1FFEB057981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Primært indhold</a:t>
            </a:r>
          </a:p>
        </p:txBody>
      </p:sp>
    </p:spTree>
    <p:extLst>
      <p:ext uri="{BB962C8B-B14F-4D97-AF65-F5344CB8AC3E}">
        <p14:creationId xmlns:p14="http://schemas.microsoft.com/office/powerpoint/2010/main" val="10453108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49996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Nyt afsnit</a:t>
            </a:r>
          </a:p>
        </p:txBody>
      </p:sp>
    </p:spTree>
    <p:extLst>
      <p:ext uri="{BB962C8B-B14F-4D97-AF65-F5344CB8AC3E}">
        <p14:creationId xmlns:p14="http://schemas.microsoft.com/office/powerpoint/2010/main" val="21812906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DB6CCC3-4B79-A846-8F97-C3D0B9F9CE3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8A69F2F3-767B-1543-9BB3-36075B3B8957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0" name="Kombinationstegning 9">
              <a:extLst>
                <a:ext uri="{FF2B5EF4-FFF2-40B4-BE49-F238E27FC236}">
                  <a16:creationId xmlns:a16="http://schemas.microsoft.com/office/drawing/2014/main" id="{261AFC55-9A17-4A4E-B03C-2D2432500C2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F4F00D4A-85ED-1F45-9352-DB89BAE5780C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25899595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735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232136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3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01502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496870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930912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52282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39160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27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1036320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375319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917017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405245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20596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968102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923510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109088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259034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725714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837244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25895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193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9986937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2879088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192001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933806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142459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3418009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924333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" y="0"/>
            <a:ext cx="12192004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484357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0"/>
            <a:ext cx="12185335" cy="68605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958743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1"/>
            <a:ext cx="12185335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008886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1"/>
            <a:ext cx="12185334" cy="68605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715476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0" y="3174"/>
            <a:ext cx="12185334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4948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53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004054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5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526959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" y="3174"/>
            <a:ext cx="12185333" cy="6854249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161816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4AEF326F-0A5F-5A44-AF6E-474B08DBF0D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048" y="1"/>
            <a:ext cx="12196048" cy="6871013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91714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282CA72B-DAAA-2A47-B97A-964503CA2B5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297"/>
            <a:ext cx="12192000" cy="6868732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1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53938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793596" y="555208"/>
            <a:ext cx="10604810" cy="574758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1501" b="1">
                <a:solidFill>
                  <a:srgbClr val="FFFFFF"/>
                </a:solidFill>
              </a:rPr>
              <a:t>Til store sale</a:t>
            </a:r>
          </a:p>
        </p:txBody>
      </p:sp>
    </p:spTree>
    <p:extLst>
      <p:ext uri="{BB962C8B-B14F-4D97-AF65-F5344CB8AC3E}">
        <p14:creationId xmlns:p14="http://schemas.microsoft.com/office/powerpoint/2010/main" val="5545054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934" y="984664"/>
            <a:ext cx="1894132" cy="187782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6714895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5611154"/>
            <a:ext cx="10363200" cy="41127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4035527"/>
            <a:ext cx="10363200" cy="1470524"/>
          </a:xfrm>
        </p:spPr>
        <p:txBody>
          <a:bodyPr/>
          <a:lstStyle>
            <a:lvl1pPr>
              <a:defRPr sz="48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3554954"/>
            <a:ext cx="10369550" cy="417513"/>
          </a:xfrm>
        </p:spPr>
        <p:txBody>
          <a:bodyPr/>
          <a:lstStyle>
            <a:lvl1pPr marL="0" indent="0" algn="ctr">
              <a:buNone/>
              <a:defRPr sz="3600" spc="300">
                <a:solidFill>
                  <a:srgbClr val="FEC315"/>
                </a:solidFill>
                <a:latin typeface="Manus" pitchFamily="2" charset="77"/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  <a:lvl4pPr marL="1371635" indent="0">
              <a:buNone/>
              <a:defRPr/>
            </a:lvl4pPr>
            <a:lvl5pPr marL="1828847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21996511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65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2120348"/>
            <a:ext cx="10363200" cy="393755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11175680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46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B11F932-EEFF-0F42-A8FD-A7B6C194B9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20B5FF7-064E-A440-964E-203F0CBC0C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8454672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13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3598548"/>
            <a:ext cx="10363200" cy="1579381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930708"/>
            <a:ext cx="10363200" cy="24184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4550862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37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1" y="2090522"/>
            <a:ext cx="4929809" cy="396737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2090522"/>
            <a:ext cx="5181600" cy="3967379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D3F494E-CD8F-B44A-B895-7802E7D87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61361C2-35D9-DC40-ADAE-BE32D61966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658377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06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736726"/>
            <a:ext cx="4937760" cy="43211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096000" y="1736726"/>
            <a:ext cx="5181600" cy="4321175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26496511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295104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564836"/>
            <a:ext cx="10363200" cy="130927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1145494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164016" y="199621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164016" y="4315350"/>
            <a:ext cx="3627184" cy="52913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164016" y="499380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400800" y="2001079"/>
            <a:ext cx="3627184" cy="221311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00800" y="4315350"/>
            <a:ext cx="3627184" cy="53399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00800" y="4998662"/>
            <a:ext cx="3627184" cy="1059239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DCA192D-13F0-8B44-B645-43979F69C2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CBFA1C1-882E-5645-99C0-3185EC185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3535801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E3B89B6-A024-B84B-A5B9-26E24133BBD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882D2D26-0C67-134D-B9A4-B8005DA09D6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333020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07DDBD85-7D34-6D4E-839C-CC15FC2869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CC4041F-0124-C541-AFC8-AE62A127F40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417644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7" name="Pladsholder til tekst 3">
            <a:extLst>
              <a:ext uri="{FF2B5EF4-FFF2-40B4-BE49-F238E27FC236}">
                <a16:creationId xmlns:a16="http://schemas.microsoft.com/office/drawing/2014/main" id="{7B52DD36-DC98-3D47-A0C3-A9425FAE7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17644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8" name="Pladsholder til tekst 3">
            <a:extLst>
              <a:ext uri="{FF2B5EF4-FFF2-40B4-BE49-F238E27FC236}">
                <a16:creationId xmlns:a16="http://schemas.microsoft.com/office/drawing/2014/main" id="{8501AE1F-28E2-7F4A-8DB5-7A5850E2F8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417644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B62EDF71-561A-6A44-BCF5-2D09A169B936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934140" y="2001078"/>
            <a:ext cx="3330208" cy="2239618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D63F48F0-EB0A-1B43-95C7-3DC5C8F084A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34140" y="4315349"/>
            <a:ext cx="333020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E901EA20-D2D6-1847-BAEE-155DAFB627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934140" y="4998662"/>
            <a:ext cx="333020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224E5EFD-6BAF-C446-8E69-8A63CE6F13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4C9323F9-7A7F-EA45-A263-1F23E4157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3506213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E7B02512-77B6-3E4D-A7FE-46004AAB3DD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1148" y="199621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3030EC21-C95B-AA41-BCB4-09DF2642AA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148" y="4315349"/>
            <a:ext cx="2514958" cy="535467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8" name="Pladsholder til tekst 3">
            <a:extLst>
              <a:ext uri="{FF2B5EF4-FFF2-40B4-BE49-F238E27FC236}">
                <a16:creationId xmlns:a16="http://schemas.microsoft.com/office/drawing/2014/main" id="{AF32A35C-97F0-EF40-A200-C2393DDA49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148" y="499380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47EE4D6-54EE-6B4D-94BC-576A41578E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519870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C54151C-9BD2-9441-B192-9C92CA68A4D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19870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1" name="Pladsholder til tekst 3">
            <a:extLst>
              <a:ext uri="{FF2B5EF4-FFF2-40B4-BE49-F238E27FC236}">
                <a16:creationId xmlns:a16="http://schemas.microsoft.com/office/drawing/2014/main" id="{0B9E6C6A-AE43-0C41-855D-6826155AE3D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19870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914B9948-AB67-514F-A195-A8D1BA9309C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37566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74ECA657-6A3A-1543-92C3-C61349168A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37566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6" name="Pladsholder til tekst 3">
            <a:extLst>
              <a:ext uri="{FF2B5EF4-FFF2-40B4-BE49-F238E27FC236}">
                <a16:creationId xmlns:a16="http://schemas.microsoft.com/office/drawing/2014/main" id="{5C9C9D67-6C46-924B-AF1B-E5B807F7146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7566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FBB4852E-96B9-3E44-86C7-1D0B200D11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CAFE22BC-7CFF-8048-8841-439F660FF1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0C59EBB3-3967-8946-9F8B-14CDF2AC3A6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763574" y="2001079"/>
            <a:ext cx="2514958" cy="210540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77BB1D31-72DA-2342-B1B2-2962322C16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63574" y="4315349"/>
            <a:ext cx="2514958" cy="540385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8B92E519-CB80-BC42-9A99-69D17D0546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63574" y="4998662"/>
            <a:ext cx="2514958" cy="1071925"/>
          </a:xfrm>
        </p:spPr>
        <p:txBody>
          <a:bodyPr/>
          <a:lstStyle>
            <a:lvl1pPr marL="0" indent="0" algn="ctr">
              <a:buNone/>
              <a:defRPr sz="20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8825480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43717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0973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0973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3572522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626600" y="1123721"/>
            <a:ext cx="4572000" cy="4726236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342" y="3922005"/>
            <a:ext cx="4745659" cy="1707615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342" y="1663545"/>
            <a:ext cx="5023693" cy="18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4584111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14401" y="2019996"/>
            <a:ext cx="2796988" cy="389468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772861" y="2019996"/>
            <a:ext cx="2796988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631321" y="2019996"/>
            <a:ext cx="4646279" cy="19967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631321" y="4089863"/>
            <a:ext cx="4646279" cy="182482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79737" y="4089862"/>
            <a:ext cx="2796988" cy="18269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81798" y="4304061"/>
            <a:ext cx="2195929" cy="1426183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34353D1-F63C-274C-A2AA-4931139C8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197B0DB-59BC-5C4E-A85E-E3E4C1753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2946647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0864"/>
            <a:ext cx="2796988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0864"/>
            <a:ext cx="4646279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3611496" y="4098637"/>
            <a:ext cx="4794838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0864"/>
            <a:ext cx="2822600" cy="2010738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14400" y="4098637"/>
            <a:ext cx="2635624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54999" y="4098637"/>
            <a:ext cx="2822600" cy="1761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33FED9-97B9-584F-A6D1-ED3735AFE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4EC77A8-1058-604D-AA07-79EB3B6DF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5056524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09345" y="2036620"/>
            <a:ext cx="2796988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14401" y="2036621"/>
            <a:ext cx="4646279" cy="393625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454999" y="2036620"/>
            <a:ext cx="2822600" cy="203829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609346" y="4139739"/>
            <a:ext cx="5668254" cy="183313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1244420-0C1D-A54B-9BEA-A64234EE0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395491"/>
            <a:ext cx="10363200" cy="353796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66A353E-08D4-944F-B5D4-CA3495E1A8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511513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4348449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0080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080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7116"/>
            <a:ext cx="5450468" cy="667088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22634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142082" y="477952"/>
            <a:ext cx="3907836" cy="3277515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5023692"/>
            <a:ext cx="10363200" cy="1024569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3830256"/>
            <a:ext cx="10363200" cy="10438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08706259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756400" y="183586"/>
            <a:ext cx="5435600" cy="6674414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03205F-5AF1-8C44-8C5D-FA8E93654D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4560" y="2801961"/>
            <a:ext cx="4876800" cy="530755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2C7903EA-DB60-B04D-98D6-FBA25BBCD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4560" y="3715792"/>
            <a:ext cx="4876800" cy="24439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/>
            </a:lvl1pPr>
            <a:lvl3pPr marL="914423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54F9CDD-2960-D043-9561-8FBD8B17D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4560" y="507079"/>
            <a:ext cx="4876800" cy="214364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48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5323852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CF49B0B-A67E-0347-B3E2-E981321E0A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80" y="0"/>
            <a:ext cx="12193879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8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6A1B4D00-31DD-DC4B-AFF0-EF1A65F4B3C9}"/>
              </a:ext>
            </a:extLst>
          </p:cNvPr>
          <p:cNvGrpSpPr/>
          <p:nvPr userDrawn="1"/>
        </p:nvGrpSpPr>
        <p:grpSpPr>
          <a:xfrm rot="17162911" flipH="1">
            <a:off x="6421968" y="2335518"/>
            <a:ext cx="837630" cy="491500"/>
            <a:chOff x="3807407" y="1614978"/>
            <a:chExt cx="750355" cy="334433"/>
          </a:xfrm>
        </p:grpSpPr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8133E8D6-A266-494A-9802-FFC98886608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  <p:sp>
          <p:nvSpPr>
            <p:cNvPr id="12" name="Kombinationstegning 11">
              <a:extLst>
                <a:ext uri="{FF2B5EF4-FFF2-40B4-BE49-F238E27FC236}">
                  <a16:creationId xmlns:a16="http://schemas.microsoft.com/office/drawing/2014/main" id="{82041656-5DF5-7545-B85B-7EC994BC2117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1800"/>
            </a:p>
          </p:txBody>
        </p:sp>
      </p:grpSp>
    </p:spTree>
    <p:extLst>
      <p:ext uri="{BB962C8B-B14F-4D97-AF65-F5344CB8AC3E}">
        <p14:creationId xmlns:p14="http://schemas.microsoft.com/office/powerpoint/2010/main" val="111196300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5475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747206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5173872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4956915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091562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7853692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5874085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0" y="0"/>
            <a:ext cx="12195200" cy="6858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07065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357608" y="173672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2357608" y="458975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2357608" y="499380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262972"/>
            <a:ext cx="10363200" cy="19854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18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594392" y="1741586"/>
            <a:ext cx="3240000" cy="27173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4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594392" y="4594615"/>
            <a:ext cx="3240000" cy="254724"/>
          </a:xfrm>
        </p:spPr>
        <p:txBody>
          <a:bodyPr anchor="b">
            <a:noAutofit/>
          </a:bodyPr>
          <a:lstStyle>
            <a:lvl1pPr marL="0" indent="0" algn="ctr">
              <a:buNone/>
              <a:defRPr sz="1400" b="1"/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594392" y="4998662"/>
            <a:ext cx="3240000" cy="1059239"/>
          </a:xfrm>
        </p:spPr>
        <p:txBody>
          <a:bodyPr/>
          <a:lstStyle>
            <a:lvl1pPr marL="0" indent="0" algn="ctr">
              <a:buNone/>
              <a:defRPr sz="1400">
                <a:solidFill>
                  <a:srgbClr val="164573"/>
                </a:solidFill>
              </a:defRPr>
            </a:lvl1pPr>
            <a:lvl2pPr marL="457212" indent="0">
              <a:buNone/>
              <a:defRPr/>
            </a:lvl2pPr>
            <a:lvl3pPr marL="914423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2488575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775687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6184138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1231824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199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127781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192001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4121930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797814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1586863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2637260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64563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12191998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3091538"/>
            <a:ext cx="7050490" cy="2732789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5783800" y="4358235"/>
            <a:ext cx="2732790" cy="199403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4423" y="5018397"/>
            <a:ext cx="5337340" cy="685716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4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4423" y="3211367"/>
            <a:ext cx="5337340" cy="1687204"/>
          </a:xfrm>
        </p:spPr>
        <p:txBody>
          <a:bodyPr anchor="b"/>
          <a:lstStyle>
            <a:lvl1pPr algn="l">
              <a:defRPr sz="44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091350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tags" Target="../tags/tag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oleObject" Target="../embeddings/oleObject1.bin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2.xml"/><Relationship Id="rId117" Type="http://schemas.openxmlformats.org/officeDocument/2006/relationships/theme" Target="../theme/theme2.xml"/><Relationship Id="rId21" Type="http://schemas.openxmlformats.org/officeDocument/2006/relationships/slideLayout" Target="../slideLayouts/slideLayout137.xml"/><Relationship Id="rId42" Type="http://schemas.openxmlformats.org/officeDocument/2006/relationships/slideLayout" Target="../slideLayouts/slideLayout158.xml"/><Relationship Id="rId47" Type="http://schemas.openxmlformats.org/officeDocument/2006/relationships/slideLayout" Target="../slideLayouts/slideLayout163.xml"/><Relationship Id="rId63" Type="http://schemas.openxmlformats.org/officeDocument/2006/relationships/slideLayout" Target="../slideLayouts/slideLayout179.xml"/><Relationship Id="rId68" Type="http://schemas.openxmlformats.org/officeDocument/2006/relationships/slideLayout" Target="../slideLayouts/slideLayout184.xml"/><Relationship Id="rId84" Type="http://schemas.openxmlformats.org/officeDocument/2006/relationships/slideLayout" Target="../slideLayouts/slideLayout200.xml"/><Relationship Id="rId89" Type="http://schemas.openxmlformats.org/officeDocument/2006/relationships/slideLayout" Target="../slideLayouts/slideLayout205.xml"/><Relationship Id="rId11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132.xml"/><Relationship Id="rId107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127.xml"/><Relationship Id="rId32" Type="http://schemas.openxmlformats.org/officeDocument/2006/relationships/slideLayout" Target="../slideLayouts/slideLayout148.xml"/><Relationship Id="rId37" Type="http://schemas.openxmlformats.org/officeDocument/2006/relationships/slideLayout" Target="../slideLayouts/slideLayout153.xml"/><Relationship Id="rId53" Type="http://schemas.openxmlformats.org/officeDocument/2006/relationships/slideLayout" Target="../slideLayouts/slideLayout169.xml"/><Relationship Id="rId58" Type="http://schemas.openxmlformats.org/officeDocument/2006/relationships/slideLayout" Target="../slideLayouts/slideLayout174.xml"/><Relationship Id="rId74" Type="http://schemas.openxmlformats.org/officeDocument/2006/relationships/slideLayout" Target="../slideLayouts/slideLayout190.xml"/><Relationship Id="rId79" Type="http://schemas.openxmlformats.org/officeDocument/2006/relationships/slideLayout" Target="../slideLayouts/slideLayout195.xml"/><Relationship Id="rId102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121.xml"/><Relationship Id="rId90" Type="http://schemas.openxmlformats.org/officeDocument/2006/relationships/slideLayout" Target="../slideLayouts/slideLayout206.xml"/><Relationship Id="rId95" Type="http://schemas.openxmlformats.org/officeDocument/2006/relationships/slideLayout" Target="../slideLayouts/slideLayout211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43" Type="http://schemas.openxmlformats.org/officeDocument/2006/relationships/slideLayout" Target="../slideLayouts/slideLayout159.xml"/><Relationship Id="rId48" Type="http://schemas.openxmlformats.org/officeDocument/2006/relationships/slideLayout" Target="../slideLayouts/slideLayout164.xml"/><Relationship Id="rId64" Type="http://schemas.openxmlformats.org/officeDocument/2006/relationships/slideLayout" Target="../slideLayouts/slideLayout180.xml"/><Relationship Id="rId69" Type="http://schemas.openxmlformats.org/officeDocument/2006/relationships/slideLayout" Target="../slideLayouts/slideLayout185.xml"/><Relationship Id="rId113" Type="http://schemas.openxmlformats.org/officeDocument/2006/relationships/slideLayout" Target="../slideLayouts/slideLayout229.xml"/><Relationship Id="rId118" Type="http://schemas.openxmlformats.org/officeDocument/2006/relationships/tags" Target="../tags/tag16.xml"/><Relationship Id="rId80" Type="http://schemas.openxmlformats.org/officeDocument/2006/relationships/slideLayout" Target="../slideLayouts/slideLayout196.xml"/><Relationship Id="rId85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9.xml"/><Relationship Id="rId38" Type="http://schemas.openxmlformats.org/officeDocument/2006/relationships/slideLayout" Target="../slideLayouts/slideLayout154.xml"/><Relationship Id="rId59" Type="http://schemas.openxmlformats.org/officeDocument/2006/relationships/slideLayout" Target="../slideLayouts/slideLayout175.xml"/><Relationship Id="rId103" Type="http://schemas.openxmlformats.org/officeDocument/2006/relationships/slideLayout" Target="../slideLayouts/slideLayout219.xml"/><Relationship Id="rId108" Type="http://schemas.openxmlformats.org/officeDocument/2006/relationships/slideLayout" Target="../slideLayouts/slideLayout224.xml"/><Relationship Id="rId54" Type="http://schemas.openxmlformats.org/officeDocument/2006/relationships/slideLayout" Target="../slideLayouts/slideLayout170.xml"/><Relationship Id="rId70" Type="http://schemas.openxmlformats.org/officeDocument/2006/relationships/slideLayout" Target="../slideLayouts/slideLayout186.xml"/><Relationship Id="rId75" Type="http://schemas.openxmlformats.org/officeDocument/2006/relationships/slideLayout" Target="../slideLayouts/slideLayout191.xml"/><Relationship Id="rId91" Type="http://schemas.openxmlformats.org/officeDocument/2006/relationships/slideLayout" Target="../slideLayouts/slideLayout207.xml"/><Relationship Id="rId96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49" Type="http://schemas.openxmlformats.org/officeDocument/2006/relationships/slideLayout" Target="../slideLayouts/slideLayout165.xml"/><Relationship Id="rId114" Type="http://schemas.openxmlformats.org/officeDocument/2006/relationships/slideLayout" Target="../slideLayouts/slideLayout230.xml"/><Relationship Id="rId119" Type="http://schemas.openxmlformats.org/officeDocument/2006/relationships/oleObject" Target="../embeddings/oleObject14.bin"/><Relationship Id="rId44" Type="http://schemas.openxmlformats.org/officeDocument/2006/relationships/slideLayout" Target="../slideLayouts/slideLayout160.xml"/><Relationship Id="rId60" Type="http://schemas.openxmlformats.org/officeDocument/2006/relationships/slideLayout" Target="../slideLayouts/slideLayout176.xml"/><Relationship Id="rId65" Type="http://schemas.openxmlformats.org/officeDocument/2006/relationships/slideLayout" Target="../slideLayouts/slideLayout181.xml"/><Relationship Id="rId81" Type="http://schemas.openxmlformats.org/officeDocument/2006/relationships/slideLayout" Target="../slideLayouts/slideLayout197.xml"/><Relationship Id="rId86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39" Type="http://schemas.openxmlformats.org/officeDocument/2006/relationships/slideLayout" Target="../slideLayouts/slideLayout155.xml"/><Relationship Id="rId109" Type="http://schemas.openxmlformats.org/officeDocument/2006/relationships/slideLayout" Target="../slideLayouts/slideLayout225.xml"/><Relationship Id="rId34" Type="http://schemas.openxmlformats.org/officeDocument/2006/relationships/slideLayout" Target="../slideLayouts/slideLayout150.xml"/><Relationship Id="rId50" Type="http://schemas.openxmlformats.org/officeDocument/2006/relationships/slideLayout" Target="../slideLayouts/slideLayout166.xml"/><Relationship Id="rId55" Type="http://schemas.openxmlformats.org/officeDocument/2006/relationships/slideLayout" Target="../slideLayouts/slideLayout171.xml"/><Relationship Id="rId76" Type="http://schemas.openxmlformats.org/officeDocument/2006/relationships/slideLayout" Target="../slideLayouts/slideLayout192.xml"/><Relationship Id="rId97" Type="http://schemas.openxmlformats.org/officeDocument/2006/relationships/slideLayout" Target="../slideLayouts/slideLayout213.xml"/><Relationship Id="rId104" Type="http://schemas.openxmlformats.org/officeDocument/2006/relationships/slideLayout" Target="../slideLayouts/slideLayout220.xml"/><Relationship Id="rId120" Type="http://schemas.openxmlformats.org/officeDocument/2006/relationships/image" Target="../media/image1.emf"/><Relationship Id="rId7" Type="http://schemas.openxmlformats.org/officeDocument/2006/relationships/slideLayout" Target="../slideLayouts/slideLayout123.xml"/><Relationship Id="rId71" Type="http://schemas.openxmlformats.org/officeDocument/2006/relationships/slideLayout" Target="../slideLayouts/slideLayout187.xml"/><Relationship Id="rId92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40.xml"/><Relationship Id="rId40" Type="http://schemas.openxmlformats.org/officeDocument/2006/relationships/slideLayout" Target="../slideLayouts/slideLayout156.xml"/><Relationship Id="rId45" Type="http://schemas.openxmlformats.org/officeDocument/2006/relationships/slideLayout" Target="../slideLayouts/slideLayout161.xml"/><Relationship Id="rId66" Type="http://schemas.openxmlformats.org/officeDocument/2006/relationships/slideLayout" Target="../slideLayouts/slideLayout182.xml"/><Relationship Id="rId87" Type="http://schemas.openxmlformats.org/officeDocument/2006/relationships/slideLayout" Target="../slideLayouts/slideLayout203.xml"/><Relationship Id="rId110" Type="http://schemas.openxmlformats.org/officeDocument/2006/relationships/slideLayout" Target="../slideLayouts/slideLayout226.xml"/><Relationship Id="rId115" Type="http://schemas.openxmlformats.org/officeDocument/2006/relationships/slideLayout" Target="../slideLayouts/slideLayout231.xml"/><Relationship Id="rId61" Type="http://schemas.openxmlformats.org/officeDocument/2006/relationships/slideLayout" Target="../slideLayouts/slideLayout177.xml"/><Relationship Id="rId82" Type="http://schemas.openxmlformats.org/officeDocument/2006/relationships/slideLayout" Target="../slideLayouts/slideLayout198.xml"/><Relationship Id="rId1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30.xml"/><Relationship Id="rId30" Type="http://schemas.openxmlformats.org/officeDocument/2006/relationships/slideLayout" Target="../slideLayouts/slideLayout146.xml"/><Relationship Id="rId35" Type="http://schemas.openxmlformats.org/officeDocument/2006/relationships/slideLayout" Target="../slideLayouts/slideLayout151.xml"/><Relationship Id="rId56" Type="http://schemas.openxmlformats.org/officeDocument/2006/relationships/slideLayout" Target="../slideLayouts/slideLayout172.xml"/><Relationship Id="rId77" Type="http://schemas.openxmlformats.org/officeDocument/2006/relationships/slideLayout" Target="../slideLayouts/slideLayout193.xml"/><Relationship Id="rId100" Type="http://schemas.openxmlformats.org/officeDocument/2006/relationships/slideLayout" Target="../slideLayouts/slideLayout216.xml"/><Relationship Id="rId105" Type="http://schemas.openxmlformats.org/officeDocument/2006/relationships/slideLayout" Target="../slideLayouts/slideLayout221.xml"/><Relationship Id="rId8" Type="http://schemas.openxmlformats.org/officeDocument/2006/relationships/slideLayout" Target="../slideLayouts/slideLayout124.xml"/><Relationship Id="rId51" Type="http://schemas.openxmlformats.org/officeDocument/2006/relationships/slideLayout" Target="../slideLayouts/slideLayout167.xml"/><Relationship Id="rId72" Type="http://schemas.openxmlformats.org/officeDocument/2006/relationships/slideLayout" Target="../slideLayouts/slideLayout188.xml"/><Relationship Id="rId93" Type="http://schemas.openxmlformats.org/officeDocument/2006/relationships/slideLayout" Target="../slideLayouts/slideLayout209.xml"/><Relationship Id="rId98" Type="http://schemas.openxmlformats.org/officeDocument/2006/relationships/slideLayout" Target="../slideLayouts/slideLayout214.xml"/><Relationship Id="rId121" Type="http://schemas.openxmlformats.org/officeDocument/2006/relationships/image" Target="../media/image2.png"/><Relationship Id="rId3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41.xml"/><Relationship Id="rId46" Type="http://schemas.openxmlformats.org/officeDocument/2006/relationships/slideLayout" Target="../slideLayouts/slideLayout162.xml"/><Relationship Id="rId67" Type="http://schemas.openxmlformats.org/officeDocument/2006/relationships/slideLayout" Target="../slideLayouts/slideLayout183.xml"/><Relationship Id="rId1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136.xml"/><Relationship Id="rId41" Type="http://schemas.openxmlformats.org/officeDocument/2006/relationships/slideLayout" Target="../slideLayouts/slideLayout157.xml"/><Relationship Id="rId62" Type="http://schemas.openxmlformats.org/officeDocument/2006/relationships/slideLayout" Target="../slideLayouts/slideLayout178.xml"/><Relationship Id="rId83" Type="http://schemas.openxmlformats.org/officeDocument/2006/relationships/slideLayout" Target="../slideLayouts/slideLayout199.xml"/><Relationship Id="rId88" Type="http://schemas.openxmlformats.org/officeDocument/2006/relationships/slideLayout" Target="../slideLayouts/slideLayout204.xml"/><Relationship Id="rId111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131.xml"/><Relationship Id="rId36" Type="http://schemas.openxmlformats.org/officeDocument/2006/relationships/slideLayout" Target="../slideLayouts/slideLayout152.xml"/><Relationship Id="rId57" Type="http://schemas.openxmlformats.org/officeDocument/2006/relationships/slideLayout" Target="../slideLayouts/slideLayout173.xml"/><Relationship Id="rId106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126.xml"/><Relationship Id="rId31" Type="http://schemas.openxmlformats.org/officeDocument/2006/relationships/slideLayout" Target="../slideLayouts/slideLayout147.xml"/><Relationship Id="rId52" Type="http://schemas.openxmlformats.org/officeDocument/2006/relationships/slideLayout" Target="../slideLayouts/slideLayout168.xml"/><Relationship Id="rId73" Type="http://schemas.openxmlformats.org/officeDocument/2006/relationships/slideLayout" Target="../slideLayouts/slideLayout189.xml"/><Relationship Id="rId78" Type="http://schemas.openxmlformats.org/officeDocument/2006/relationships/slideLayout" Target="../slideLayouts/slideLayout194.xml"/><Relationship Id="rId94" Type="http://schemas.openxmlformats.org/officeDocument/2006/relationships/slideLayout" Target="../slideLayouts/slideLayout210.xml"/><Relationship Id="rId99" Type="http://schemas.openxmlformats.org/officeDocument/2006/relationships/slideLayout" Target="../slideLayouts/slideLayout215.xml"/><Relationship Id="rId101" Type="http://schemas.openxmlformats.org/officeDocument/2006/relationships/slideLayout" Target="../slideLayouts/slideLayout2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8"/>
            </p:custDataLst>
            <p:extLst>
              <p:ext uri="{D42A27DB-BD31-4B8C-83A1-F6EECF244321}">
                <p14:modId xmlns:p14="http://schemas.microsoft.com/office/powerpoint/2010/main" val="1624265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9" imgW="353" imgH="353" progId="TCLayout.ActiveDocument.1">
                  <p:embed/>
                </p:oleObj>
              </mc:Choice>
              <mc:Fallback>
                <p:oleObj name="think-cell Slide" r:id="rId119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2878763" y="6442008"/>
            <a:ext cx="374307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200" b="0" i="0">
              <a:solidFill>
                <a:schemeClr val="accent1">
                  <a:alpha val="50000"/>
                </a:schemeClr>
              </a:solidFill>
              <a:latin typeface="Roboto Condensed Light" charset="0"/>
              <a:ea typeface="Roboto Condensed Light" charset="0"/>
              <a:cs typeface="Roboto Condensed Light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914400" y="1736726"/>
            <a:ext cx="10363200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Punkt niv 1 (str. 18)</a:t>
            </a:r>
          </a:p>
          <a:p>
            <a:pPr lvl="1"/>
            <a:r>
              <a:rPr lang="da-DK" noProof="0"/>
              <a:t>Punkt niv 2</a:t>
            </a:r>
          </a:p>
          <a:p>
            <a:pPr lvl="2"/>
            <a:r>
              <a:rPr lang="da-DK" noProof="0"/>
              <a:t>Punkt niv 3</a:t>
            </a:r>
          </a:p>
          <a:p>
            <a:pPr lvl="3"/>
            <a:r>
              <a:rPr lang="da-DK" noProof="0"/>
              <a:t>Punkt niv 4</a:t>
            </a:r>
          </a:p>
          <a:p>
            <a:pPr lvl="4"/>
            <a:r>
              <a:rPr lang="da-DK" noProof="0"/>
              <a:t>Punkt niv 5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1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6" name="Rectangle 7"/>
          <p:cNvSpPr/>
          <p:nvPr/>
        </p:nvSpPr>
        <p:spPr>
          <a:xfrm>
            <a:off x="0" y="0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Pladsholder til slidenummer 3">
            <a:extLst>
              <a:ext uri="{FF2B5EF4-FFF2-40B4-BE49-F238E27FC236}">
                <a16:creationId xmlns:a16="http://schemas.microsoft.com/office/drawing/2014/main" id="{261F9F15-9FEF-B744-99C3-B8E898C689AE}"/>
              </a:ext>
            </a:extLst>
          </p:cNvPr>
          <p:cNvSpPr txBox="1">
            <a:spLocks/>
          </p:cNvSpPr>
          <p:nvPr userDrawn="1"/>
        </p:nvSpPr>
        <p:spPr>
          <a:xfrm>
            <a:off x="243426" y="6048260"/>
            <a:ext cx="670974" cy="685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rgbClr val="446B8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299A6-A9F0-954F-A0FC-2793106C1BD3}" type="slidenum">
              <a:rPr lang="da-DK" sz="1000" smtClean="0"/>
              <a:pPr/>
              <a:t>‹#›</a:t>
            </a:fld>
            <a:endParaRPr lang="da-DK" sz="1000"/>
          </a:p>
        </p:txBody>
      </p:sp>
    </p:spTree>
    <p:extLst>
      <p:ext uri="{BB962C8B-B14F-4D97-AF65-F5344CB8AC3E}">
        <p14:creationId xmlns:p14="http://schemas.microsoft.com/office/powerpoint/2010/main" val="2059262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  <p:sldLayoutId id="2147483758" r:id="rId98"/>
    <p:sldLayoutId id="2147483759" r:id="rId99"/>
    <p:sldLayoutId id="2147483760" r:id="rId100"/>
    <p:sldLayoutId id="2147483761" r:id="rId101"/>
    <p:sldLayoutId id="2147483762" r:id="rId102"/>
    <p:sldLayoutId id="2147483763" r:id="rId103"/>
    <p:sldLayoutId id="2147483764" r:id="rId104"/>
    <p:sldLayoutId id="2147483765" r:id="rId105"/>
    <p:sldLayoutId id="2147483766" r:id="rId106"/>
    <p:sldLayoutId id="2147483767" r:id="rId107"/>
    <p:sldLayoutId id="2147483768" r:id="rId108"/>
    <p:sldLayoutId id="2147483769" r:id="rId109"/>
    <p:sldLayoutId id="2147483770" r:id="rId110"/>
    <p:sldLayoutId id="2147483771" r:id="rId111"/>
    <p:sldLayoutId id="2147483772" r:id="rId112"/>
    <p:sldLayoutId id="2147483773" r:id="rId113"/>
    <p:sldLayoutId id="2147483774" r:id="rId114"/>
    <p:sldLayoutId id="2147483775" r:id="rId115"/>
    <p:sldLayoutId id="2147483776" r:id="rId116"/>
  </p:sldLayoutIdLst>
  <p:hf hdr="0"/>
  <p:txStyles>
    <p:titleStyle>
      <a:lvl1pPr algn="ctr" defTabSz="914423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2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342917" indent="-342917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74">
          <p15:clr>
            <a:srgbClr val="F26B43"/>
          </p15:clr>
        </p15:guide>
        <p15:guide id="4" pos="7106">
          <p15:clr>
            <a:srgbClr val="F26B43"/>
          </p15:clr>
        </p15:guide>
        <p15:guide id="5" orient="horz" pos="3816">
          <p15:clr>
            <a:srgbClr val="F26B43"/>
          </p15:clr>
        </p15:guide>
        <p15:guide id="7" orient="horz" pos="109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8"/>
            </p:custDataLst>
            <p:extLst>
              <p:ext uri="{D42A27DB-BD31-4B8C-83A1-F6EECF244321}">
                <p14:modId xmlns:p14="http://schemas.microsoft.com/office/powerpoint/2010/main" val="4214849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9" imgW="353" imgH="353" progId="TCLayout.ActiveDocument.1">
                  <p:embed/>
                </p:oleObj>
              </mc:Choice>
              <mc:Fallback>
                <p:oleObj name="think-cell Slide" r:id="rId119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2878763" y="6442008"/>
            <a:ext cx="374307" cy="328295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200" b="0" i="0">
              <a:solidFill>
                <a:schemeClr val="accent1">
                  <a:alpha val="50000"/>
                </a:schemeClr>
              </a:solidFill>
              <a:latin typeface="Roboto Condensed Light" charset="0"/>
              <a:ea typeface="Roboto Condensed Light" charset="0"/>
              <a:cs typeface="Roboto Condensed Light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914400" y="432001"/>
            <a:ext cx="10363200" cy="81756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914400" y="1736726"/>
            <a:ext cx="10363200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Punkt niv 1 (str. 18)</a:t>
            </a:r>
          </a:p>
          <a:p>
            <a:pPr lvl="1"/>
            <a:r>
              <a:rPr lang="da-DK" noProof="0"/>
              <a:t>Punkt niv 2</a:t>
            </a:r>
          </a:p>
          <a:p>
            <a:pPr lvl="2"/>
            <a:r>
              <a:rPr lang="da-DK" noProof="0"/>
              <a:t>Punkt niv 3</a:t>
            </a:r>
          </a:p>
          <a:p>
            <a:pPr lvl="3"/>
            <a:r>
              <a:rPr lang="da-DK" noProof="0"/>
              <a:t>Punkt niv 4</a:t>
            </a:r>
          </a:p>
          <a:p>
            <a:pPr lvl="4"/>
            <a:r>
              <a:rPr lang="da-DK" noProof="0"/>
              <a:t>Punkt niv 5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1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8230" y="6120894"/>
            <a:ext cx="540345" cy="535692"/>
          </a:xfrm>
          <a:prstGeom prst="rect">
            <a:avLst/>
          </a:prstGeom>
        </p:spPr>
      </p:pic>
      <p:sp>
        <p:nvSpPr>
          <p:cNvPr id="16" name="Rectangle 7"/>
          <p:cNvSpPr/>
          <p:nvPr/>
        </p:nvSpPr>
        <p:spPr>
          <a:xfrm>
            <a:off x="0" y="0"/>
            <a:ext cx="12192000" cy="180000"/>
          </a:xfrm>
          <a:prstGeom prst="rect">
            <a:avLst/>
          </a:prstGeom>
          <a:solidFill>
            <a:srgbClr val="16457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Pladsholder til slidenummer 3">
            <a:extLst>
              <a:ext uri="{FF2B5EF4-FFF2-40B4-BE49-F238E27FC236}">
                <a16:creationId xmlns:a16="http://schemas.microsoft.com/office/drawing/2014/main" id="{261F9F15-9FEF-B744-99C3-B8E898C689AE}"/>
              </a:ext>
            </a:extLst>
          </p:cNvPr>
          <p:cNvSpPr txBox="1">
            <a:spLocks/>
          </p:cNvSpPr>
          <p:nvPr userDrawn="1"/>
        </p:nvSpPr>
        <p:spPr>
          <a:xfrm>
            <a:off x="243426" y="6048260"/>
            <a:ext cx="670974" cy="685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rgbClr val="446B8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299A6-A9F0-954F-A0FC-2793106C1BD3}" type="slidenum">
              <a:rPr lang="da-DK" sz="1000" smtClean="0"/>
              <a:pPr/>
              <a:t>‹#›</a:t>
            </a:fld>
            <a:endParaRPr lang="da-DK" sz="1000"/>
          </a:p>
        </p:txBody>
      </p:sp>
    </p:spTree>
    <p:extLst>
      <p:ext uri="{BB962C8B-B14F-4D97-AF65-F5344CB8AC3E}">
        <p14:creationId xmlns:p14="http://schemas.microsoft.com/office/powerpoint/2010/main" val="4178125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  <p:sldLayoutId id="2147483834" r:id="rId57"/>
    <p:sldLayoutId id="2147483835" r:id="rId58"/>
    <p:sldLayoutId id="2147483836" r:id="rId59"/>
    <p:sldLayoutId id="2147483837" r:id="rId60"/>
    <p:sldLayoutId id="2147483838" r:id="rId61"/>
    <p:sldLayoutId id="2147483839" r:id="rId62"/>
    <p:sldLayoutId id="2147483840" r:id="rId63"/>
    <p:sldLayoutId id="2147483841" r:id="rId64"/>
    <p:sldLayoutId id="2147483842" r:id="rId65"/>
    <p:sldLayoutId id="2147483843" r:id="rId66"/>
    <p:sldLayoutId id="2147483844" r:id="rId67"/>
    <p:sldLayoutId id="2147483845" r:id="rId68"/>
    <p:sldLayoutId id="2147483846" r:id="rId69"/>
    <p:sldLayoutId id="2147483847" r:id="rId70"/>
    <p:sldLayoutId id="2147483848" r:id="rId71"/>
    <p:sldLayoutId id="2147483849" r:id="rId72"/>
    <p:sldLayoutId id="2147483850" r:id="rId73"/>
    <p:sldLayoutId id="2147483851" r:id="rId74"/>
    <p:sldLayoutId id="2147483852" r:id="rId75"/>
    <p:sldLayoutId id="2147483853" r:id="rId76"/>
    <p:sldLayoutId id="2147483854" r:id="rId77"/>
    <p:sldLayoutId id="2147483855" r:id="rId78"/>
    <p:sldLayoutId id="2147483856" r:id="rId79"/>
    <p:sldLayoutId id="2147483857" r:id="rId80"/>
    <p:sldLayoutId id="2147483858" r:id="rId81"/>
    <p:sldLayoutId id="2147483859" r:id="rId82"/>
    <p:sldLayoutId id="2147483860" r:id="rId83"/>
    <p:sldLayoutId id="2147483861" r:id="rId84"/>
    <p:sldLayoutId id="2147483862" r:id="rId85"/>
    <p:sldLayoutId id="2147483863" r:id="rId86"/>
    <p:sldLayoutId id="2147483864" r:id="rId87"/>
    <p:sldLayoutId id="2147483865" r:id="rId88"/>
    <p:sldLayoutId id="2147483866" r:id="rId89"/>
    <p:sldLayoutId id="2147483867" r:id="rId90"/>
    <p:sldLayoutId id="2147483868" r:id="rId91"/>
    <p:sldLayoutId id="2147483869" r:id="rId92"/>
    <p:sldLayoutId id="2147483870" r:id="rId93"/>
    <p:sldLayoutId id="2147483871" r:id="rId94"/>
    <p:sldLayoutId id="2147483872" r:id="rId95"/>
    <p:sldLayoutId id="2147483873" r:id="rId96"/>
    <p:sldLayoutId id="2147483874" r:id="rId97"/>
    <p:sldLayoutId id="2147483875" r:id="rId98"/>
    <p:sldLayoutId id="2147483876" r:id="rId99"/>
    <p:sldLayoutId id="2147483877" r:id="rId100"/>
    <p:sldLayoutId id="2147483878" r:id="rId101"/>
    <p:sldLayoutId id="2147483879" r:id="rId102"/>
    <p:sldLayoutId id="2147483880" r:id="rId103"/>
    <p:sldLayoutId id="2147483881" r:id="rId104"/>
    <p:sldLayoutId id="2147483882" r:id="rId105"/>
    <p:sldLayoutId id="2147483883" r:id="rId106"/>
    <p:sldLayoutId id="2147483884" r:id="rId107"/>
    <p:sldLayoutId id="2147483885" r:id="rId108"/>
    <p:sldLayoutId id="2147483886" r:id="rId109"/>
    <p:sldLayoutId id="2147483887" r:id="rId110"/>
    <p:sldLayoutId id="2147483888" r:id="rId111"/>
    <p:sldLayoutId id="2147483889" r:id="rId112"/>
    <p:sldLayoutId id="2147483890" r:id="rId113"/>
    <p:sldLayoutId id="2147483891" r:id="rId114"/>
    <p:sldLayoutId id="2147483892" r:id="rId115"/>
    <p:sldLayoutId id="2147483893" r:id="rId116"/>
  </p:sldLayoutIdLst>
  <p:hf hdr="0"/>
  <p:txStyles>
    <p:titleStyle>
      <a:lvl1pPr algn="ctr" defTabSz="914423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2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342917" indent="-342917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74">
          <p15:clr>
            <a:srgbClr val="F26B43"/>
          </p15:clr>
        </p15:guide>
        <p15:guide id="4" pos="7106">
          <p15:clr>
            <a:srgbClr val="F26B43"/>
          </p15:clr>
        </p15:guide>
        <p15:guide id="5" orient="horz" pos="3816">
          <p15:clr>
            <a:srgbClr val="F26B43"/>
          </p15:clr>
        </p15:guide>
        <p15:guide id="7" orient="horz" pos="1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0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176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7">
            <a:extLst>
              <a:ext uri="{FF2B5EF4-FFF2-40B4-BE49-F238E27FC236}">
                <a16:creationId xmlns:a16="http://schemas.microsoft.com/office/drawing/2014/main" id="{BE918D2E-40DE-3BB0-1D54-F7243D6AAD7A}"/>
              </a:ext>
            </a:extLst>
          </p:cNvPr>
          <p:cNvSpPr/>
          <p:nvPr/>
        </p:nvSpPr>
        <p:spPr>
          <a:xfrm>
            <a:off x="1538163" y="1746936"/>
            <a:ext cx="9278093" cy="3595690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500" dirty="0">
              <a:solidFill>
                <a:srgbClr val="002060"/>
              </a:solidFill>
            </a:endParaRPr>
          </a:p>
          <a:p>
            <a:r>
              <a:rPr lang="en-GB" sz="1500" dirty="0">
                <a:solidFill>
                  <a:srgbClr val="002060"/>
                </a:solidFill>
              </a:rPr>
              <a:t>  </a:t>
            </a:r>
          </a:p>
          <a:p>
            <a:endParaRPr lang="en-GB" sz="1500" dirty="0">
              <a:solidFill>
                <a:srgbClr val="002060"/>
              </a:solidFill>
            </a:endParaRPr>
          </a:p>
          <a:p>
            <a:endParaRPr lang="en-GB" sz="1500" dirty="0">
              <a:solidFill>
                <a:srgbClr val="002060"/>
              </a:solidFill>
            </a:endParaRPr>
          </a:p>
          <a:p>
            <a:pPr defTabSz="1371600">
              <a:defRPr/>
            </a:pPr>
            <a:endParaRPr lang="da-DK" sz="2700" i="1" dirty="0">
              <a:solidFill>
                <a:srgbClr val="FFC000"/>
              </a:solidFill>
              <a:latin typeface="Arial"/>
            </a:endParaRPr>
          </a:p>
        </p:txBody>
      </p:sp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oliga Marketingpakker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11" name="Rektangel 60">
            <a:extLst>
              <a:ext uri="{FF2B5EF4-FFF2-40B4-BE49-F238E27FC236}">
                <a16:creationId xmlns:a16="http://schemas.microsoft.com/office/drawing/2014/main" id="{2F753E69-DDEA-73FE-D61E-E47A384306C8}"/>
              </a:ext>
            </a:extLst>
          </p:cNvPr>
          <p:cNvSpPr/>
          <p:nvPr/>
        </p:nvSpPr>
        <p:spPr>
          <a:xfrm>
            <a:off x="1548522" y="1631092"/>
            <a:ext cx="2338207" cy="17258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ktangel 54">
            <a:extLst>
              <a:ext uri="{FF2B5EF4-FFF2-40B4-BE49-F238E27FC236}">
                <a16:creationId xmlns:a16="http://schemas.microsoft.com/office/drawing/2014/main" id="{2FB112CA-BB29-316C-D620-FB594234CADB}"/>
              </a:ext>
            </a:extLst>
          </p:cNvPr>
          <p:cNvSpPr/>
          <p:nvPr/>
        </p:nvSpPr>
        <p:spPr>
          <a:xfrm>
            <a:off x="1526754" y="1738314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Me Katalo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Katalog med 11 boliger ad gangen – automatisk opdatering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Vises på Facebook og Instagram 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 data </a:t>
            </a: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kombineret med FB+IG data 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</a:t>
            </a: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-afsender giver  uhørt høj klikrate 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4" name="Rektangel 60">
            <a:extLst>
              <a:ext uri="{FF2B5EF4-FFF2-40B4-BE49-F238E27FC236}">
                <a16:creationId xmlns:a16="http://schemas.microsoft.com/office/drawing/2014/main" id="{2987C690-FE32-1911-FBC1-D684EE040B6C}"/>
              </a:ext>
            </a:extLst>
          </p:cNvPr>
          <p:cNvSpPr/>
          <p:nvPr/>
        </p:nvSpPr>
        <p:spPr>
          <a:xfrm>
            <a:off x="5010195" y="1631092"/>
            <a:ext cx="2368072" cy="20141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ktangel 54">
            <a:extLst>
              <a:ext uri="{FF2B5EF4-FFF2-40B4-BE49-F238E27FC236}">
                <a16:creationId xmlns:a16="http://schemas.microsoft.com/office/drawing/2014/main" id="{D2B38973-4303-9B19-70B5-D6EBC78DCB09}"/>
              </a:ext>
            </a:extLst>
          </p:cNvPr>
          <p:cNvSpPr/>
          <p:nvPr/>
        </p:nvSpPr>
        <p:spPr>
          <a:xfrm>
            <a:off x="4999565" y="1767144"/>
            <a:ext cx="2376296" cy="356685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A Exclus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Op til 3 x flere visninger 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Bedre placeringer end øvrige boliger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remhævet tekst</a:t>
            </a:r>
            <a:b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1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remhævet grafisk annonce </a:t>
            </a:r>
            <a:r>
              <a:rPr lang="da-DK" sz="1100" dirty="0">
                <a:solidFill>
                  <a:schemeClr val="tx1"/>
                </a:solidFill>
                <a:latin typeface="Arial"/>
              </a:rPr>
              <a:t>  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ktangel 60">
            <a:extLst>
              <a:ext uri="{FF2B5EF4-FFF2-40B4-BE49-F238E27FC236}">
                <a16:creationId xmlns:a16="http://schemas.microsoft.com/office/drawing/2014/main" id="{282D86DE-C64C-9228-EB0A-5A5E30039772}"/>
              </a:ext>
            </a:extLst>
          </p:cNvPr>
          <p:cNvSpPr/>
          <p:nvPr/>
        </p:nvSpPr>
        <p:spPr>
          <a:xfrm>
            <a:off x="8465753" y="1618736"/>
            <a:ext cx="2359129" cy="20141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ktangel 54">
            <a:extLst>
              <a:ext uri="{FF2B5EF4-FFF2-40B4-BE49-F238E27FC236}">
                <a16:creationId xmlns:a16="http://schemas.microsoft.com/office/drawing/2014/main" id="{DA5134B1-8E54-CA25-9E10-E2BAF886930D}"/>
              </a:ext>
            </a:extLst>
          </p:cNvPr>
          <p:cNvSpPr/>
          <p:nvPr/>
        </p:nvSpPr>
        <p:spPr>
          <a:xfrm>
            <a:off x="8452548" y="1754787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 Fro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Bolig på forsiden af boliga.dk </a:t>
            </a:r>
            <a:b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</a:br>
            <a:endParaRPr lang="da-DK" sz="12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remhævet grafisk annonce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2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Forskellige fremhævninger efter boligstatus (”Nyhed”, ”Prisfald” etc.)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ktangel 60">
            <a:extLst>
              <a:ext uri="{FF2B5EF4-FFF2-40B4-BE49-F238E27FC236}">
                <a16:creationId xmlns:a16="http://schemas.microsoft.com/office/drawing/2014/main" id="{D1110A42-011D-1062-76B8-44730AEE52D3}"/>
              </a:ext>
            </a:extLst>
          </p:cNvPr>
          <p:cNvSpPr/>
          <p:nvPr/>
        </p:nvSpPr>
        <p:spPr>
          <a:xfrm>
            <a:off x="5690280" y="1382163"/>
            <a:ext cx="1683461" cy="35615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UN MED BOLIGA </a:t>
            </a:r>
            <a:endParaRPr kumimoji="0" lang="da-DK" sz="110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60">
            <a:extLst>
              <a:ext uri="{FF2B5EF4-FFF2-40B4-BE49-F238E27FC236}">
                <a16:creationId xmlns:a16="http://schemas.microsoft.com/office/drawing/2014/main" id="{709DB893-4912-F158-2212-480B85E2F6D9}"/>
              </a:ext>
            </a:extLst>
          </p:cNvPr>
          <p:cNvSpPr/>
          <p:nvPr/>
        </p:nvSpPr>
        <p:spPr>
          <a:xfrm>
            <a:off x="9146391" y="1393049"/>
            <a:ext cx="1683461" cy="35615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ÅLRETTET KØBERE</a:t>
            </a:r>
            <a:endParaRPr kumimoji="0" lang="da-DK" sz="110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ktangel 54">
            <a:extLst>
              <a:ext uri="{FF2B5EF4-FFF2-40B4-BE49-F238E27FC236}">
                <a16:creationId xmlns:a16="http://schemas.microsoft.com/office/drawing/2014/main" id="{1A856678-2A7C-C6B4-F770-4D2C8FE2B6EF}"/>
              </a:ext>
            </a:extLst>
          </p:cNvPr>
          <p:cNvSpPr/>
          <p:nvPr/>
        </p:nvSpPr>
        <p:spPr>
          <a:xfrm>
            <a:off x="1548522" y="5724750"/>
            <a:ext cx="2376296" cy="940935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400" dirty="0">
              <a:solidFill>
                <a:schemeClr val="accent3">
                  <a:lumMod val="75000"/>
                </a:schemeClr>
              </a:solidFill>
              <a:latin typeface="Arial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Kan udvides med katalog efter boligtype og pris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4" name="Ellipse 4">
            <a:extLst>
              <a:ext uri="{FF2B5EF4-FFF2-40B4-BE49-F238E27FC236}">
                <a16:creationId xmlns:a16="http://schemas.microsoft.com/office/drawing/2014/main" id="{97C4DB62-5188-DF13-916B-0EE62813D603}"/>
              </a:ext>
            </a:extLst>
          </p:cNvPr>
          <p:cNvSpPr/>
          <p:nvPr/>
        </p:nvSpPr>
        <p:spPr>
          <a:xfrm>
            <a:off x="2441798" y="5428884"/>
            <a:ext cx="324000" cy="324000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endParaRPr kumimoji="0" lang="da-DK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ktangel 60">
            <a:extLst>
              <a:ext uri="{FF2B5EF4-FFF2-40B4-BE49-F238E27FC236}">
                <a16:creationId xmlns:a16="http://schemas.microsoft.com/office/drawing/2014/main" id="{676BA5FF-2888-048A-0A9D-7263F2AAC2B9}"/>
              </a:ext>
            </a:extLst>
          </p:cNvPr>
          <p:cNvSpPr/>
          <p:nvPr/>
        </p:nvSpPr>
        <p:spPr>
          <a:xfrm>
            <a:off x="2216506" y="1382159"/>
            <a:ext cx="1683461" cy="35615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ØJE KLIKRATER</a:t>
            </a:r>
            <a:endParaRPr kumimoji="0" lang="da-DK" sz="140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94003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045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oMe katalog (der ønskes der udgaver)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2" name="Rektangel 54">
            <a:extLst>
              <a:ext uri="{FF2B5EF4-FFF2-40B4-BE49-F238E27FC236}">
                <a16:creationId xmlns:a16="http://schemas.microsoft.com/office/drawing/2014/main" id="{3FB49D35-4CDE-EBEA-0692-F5F8C2A09EA1}"/>
              </a:ext>
            </a:extLst>
          </p:cNvPr>
          <p:cNvSpPr/>
          <p:nvPr/>
        </p:nvSpPr>
        <p:spPr>
          <a:xfrm>
            <a:off x="7557527" y="1510876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E8B07174-0564-496F-4933-63278EF35A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778" y="1648441"/>
            <a:ext cx="428190" cy="1305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BC38192-EB38-E8FF-2A98-65888D730877}"/>
              </a:ext>
            </a:extLst>
          </p:cNvPr>
          <p:cNvSpPr/>
          <p:nvPr/>
        </p:nvSpPr>
        <p:spPr>
          <a:xfrm>
            <a:off x="7734778" y="2186133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/>
              <a:t>SALGS-BUDSKAB</a:t>
            </a:r>
            <a:endParaRPr lang="da-DK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C1FE3F-6D18-7AD5-B150-CABCCD2A2ECA}"/>
              </a:ext>
            </a:extLst>
          </p:cNvPr>
          <p:cNvSpPr/>
          <p:nvPr/>
        </p:nvSpPr>
        <p:spPr>
          <a:xfrm>
            <a:off x="9151063" y="2186133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/>
              <a:t>BOLI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C765C5-956E-4AF1-EEA1-BA0D61463E63}"/>
              </a:ext>
            </a:extLst>
          </p:cNvPr>
          <p:cNvSpPr/>
          <p:nvPr/>
        </p:nvSpPr>
        <p:spPr>
          <a:xfrm>
            <a:off x="10842132" y="1729191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/>
              <a:t>SALGS-BUDSKAB</a:t>
            </a:r>
            <a:endParaRPr lang="da-D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F8704A1-6697-4262-1D2B-FFB52E205D4A}"/>
              </a:ext>
            </a:extLst>
          </p:cNvPr>
          <p:cNvSpPr txBox="1"/>
          <p:nvPr/>
        </p:nvSpPr>
        <p:spPr>
          <a:xfrm>
            <a:off x="7998593" y="5193798"/>
            <a:ext cx="3015101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>
                <a:solidFill>
                  <a:srgbClr val="002060"/>
                </a:solidFill>
              </a:rPr>
              <a:t>Eksempel på et kort i katalog kan indeholde salgsbudskab fra mægler:</a:t>
            </a:r>
          </a:p>
          <a:p>
            <a:endParaRPr lang="da-DK" sz="1100" dirty="0">
              <a:solidFill>
                <a:srgbClr val="002060"/>
              </a:solidFill>
            </a:endParaRPr>
          </a:p>
          <a:p>
            <a:r>
              <a:rPr lang="da-DK" sz="1100" dirty="0">
                <a:solidFill>
                  <a:srgbClr val="002060"/>
                </a:solidFill>
              </a:rPr>
              <a:t>”Skal din bolig vises for mange interesserede køber på denne plads? Kontakt os for en uforpligtende vurdering af din bolig?”</a:t>
            </a:r>
          </a:p>
          <a:p>
            <a:endParaRPr lang="da-DK" sz="1100" dirty="0">
              <a:solidFill>
                <a:srgbClr val="002060"/>
              </a:solidFill>
            </a:endParaRPr>
          </a:p>
          <a:p>
            <a:r>
              <a:rPr lang="da-DK" sz="1100" dirty="0">
                <a:solidFill>
                  <a:srgbClr val="002060"/>
                </a:solidFill>
              </a:rPr>
              <a:t>Billede og logo – noget fra Realmæglerne.</a:t>
            </a:r>
          </a:p>
          <a:p>
            <a:endParaRPr lang="da-DK" sz="1100" dirty="0">
              <a:solidFill>
                <a:srgbClr val="002060"/>
              </a:solidFill>
            </a:endParaRPr>
          </a:p>
        </p:txBody>
      </p:sp>
      <p:sp>
        <p:nvSpPr>
          <p:cNvPr id="12" name="Rektangel 54">
            <a:extLst>
              <a:ext uri="{FF2B5EF4-FFF2-40B4-BE49-F238E27FC236}">
                <a16:creationId xmlns:a16="http://schemas.microsoft.com/office/drawing/2014/main" id="{2AAFA9A2-A795-3491-A10C-B5578E06A0B5}"/>
              </a:ext>
            </a:extLst>
          </p:cNvPr>
          <p:cNvSpPr/>
          <p:nvPr/>
        </p:nvSpPr>
        <p:spPr>
          <a:xfrm>
            <a:off x="169326" y="1461406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39EEB40D-151E-E2DE-E6C4-5593ECC61C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577" y="1598971"/>
            <a:ext cx="428190" cy="13059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3B3DB86-A2C7-8D52-70C2-1B85DD3942CA}"/>
              </a:ext>
            </a:extLst>
          </p:cNvPr>
          <p:cNvSpPr/>
          <p:nvPr/>
        </p:nvSpPr>
        <p:spPr>
          <a:xfrm>
            <a:off x="346577" y="2136663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/>
              <a:t>BOLIG</a:t>
            </a:r>
            <a:br>
              <a:rPr lang="da-DK" sz="1400" dirty="0"/>
            </a:br>
            <a:r>
              <a:rPr lang="da-DK" sz="1400" dirty="0"/>
              <a:t>VILLA </a:t>
            </a:r>
            <a:endParaRPr lang="da-DK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3D2DD0A-BFA4-CF05-805F-3B11A39A5FDA}"/>
              </a:ext>
            </a:extLst>
          </p:cNvPr>
          <p:cNvSpPr/>
          <p:nvPr/>
        </p:nvSpPr>
        <p:spPr>
          <a:xfrm>
            <a:off x="1762862" y="2136663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/>
              <a:t>BOLIG</a:t>
            </a:r>
            <a:br>
              <a:rPr lang="da-DK" sz="1400" dirty="0"/>
            </a:br>
            <a:r>
              <a:rPr lang="da-DK" sz="1400" dirty="0"/>
              <a:t>LEJLIGHED</a:t>
            </a:r>
          </a:p>
        </p:txBody>
      </p:sp>
      <p:cxnSp>
        <p:nvCxnSpPr>
          <p:cNvPr id="18" name="Curved Connector 17">
            <a:extLst>
              <a:ext uri="{FF2B5EF4-FFF2-40B4-BE49-F238E27FC236}">
                <a16:creationId xmlns:a16="http://schemas.microsoft.com/office/drawing/2014/main" id="{5515E878-E540-73C0-4DFD-BC73C2C1FEDB}"/>
              </a:ext>
            </a:extLst>
          </p:cNvPr>
          <p:cNvCxnSpPr>
            <a:cxnSpLocks/>
            <a:stCxn id="6" idx="0"/>
          </p:cNvCxnSpPr>
          <p:nvPr/>
        </p:nvCxnSpPr>
        <p:spPr>
          <a:xfrm rot="5400000" flipH="1" flipV="1">
            <a:off x="9398622" y="742623"/>
            <a:ext cx="407094" cy="2479926"/>
          </a:xfrm>
          <a:prstGeom prst="curvedConnector2">
            <a:avLst/>
          </a:prstGeom>
          <a:ln w="15875" cmpd="sng">
            <a:solidFill>
              <a:schemeClr val="accent3">
                <a:lumMod val="75000"/>
              </a:schemeClr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FB6F141-ADC8-C108-CF68-824C4359B91D}"/>
              </a:ext>
            </a:extLst>
          </p:cNvPr>
          <p:cNvSpPr txBox="1"/>
          <p:nvPr/>
        </p:nvSpPr>
        <p:spPr>
          <a:xfrm>
            <a:off x="169327" y="5291734"/>
            <a:ext cx="23762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>
                <a:solidFill>
                  <a:srgbClr val="002060"/>
                </a:solidFill>
              </a:rPr>
              <a:t>Katalog med forskellige boligtyper. </a:t>
            </a:r>
          </a:p>
          <a:p>
            <a:endParaRPr lang="da-DK" sz="1100" dirty="0">
              <a:solidFill>
                <a:srgbClr val="002060"/>
              </a:solidFill>
            </a:endParaRPr>
          </a:p>
        </p:txBody>
      </p:sp>
      <p:sp>
        <p:nvSpPr>
          <p:cNvPr id="21" name="Rektangel 54">
            <a:extLst>
              <a:ext uri="{FF2B5EF4-FFF2-40B4-BE49-F238E27FC236}">
                <a16:creationId xmlns:a16="http://schemas.microsoft.com/office/drawing/2014/main" id="{70B3C121-08B1-0776-0520-764F4863FC8F}"/>
              </a:ext>
            </a:extLst>
          </p:cNvPr>
          <p:cNvSpPr/>
          <p:nvPr/>
        </p:nvSpPr>
        <p:spPr>
          <a:xfrm>
            <a:off x="4133340" y="1459801"/>
            <a:ext cx="2376296" cy="3595686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B7B9BC9A-967D-02A7-F8D9-69CADD84FF6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591" y="1597366"/>
            <a:ext cx="428190" cy="13059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96D9508-1195-0C2B-4EC8-1E026FBA58D5}"/>
              </a:ext>
            </a:extLst>
          </p:cNvPr>
          <p:cNvSpPr/>
          <p:nvPr/>
        </p:nvSpPr>
        <p:spPr>
          <a:xfrm>
            <a:off x="4310591" y="2135058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dirty="0"/>
              <a:t>SOMMERHUS</a:t>
            </a:r>
            <a:endParaRPr lang="da-DK" sz="16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43FB75-AE0D-D013-93E8-BE6416B2B341}"/>
              </a:ext>
            </a:extLst>
          </p:cNvPr>
          <p:cNvSpPr/>
          <p:nvPr/>
        </p:nvSpPr>
        <p:spPr>
          <a:xfrm>
            <a:off x="5726876" y="2135058"/>
            <a:ext cx="1254855" cy="1915064"/>
          </a:xfrm>
          <a:prstGeom prst="rect">
            <a:avLst/>
          </a:prstGeom>
          <a:solidFill>
            <a:schemeClr val="accent5">
              <a:alpha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dirty="0"/>
              <a:t>SOMMERHU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3A1FB8-CB98-779B-F3A1-C2A853E901E5}"/>
              </a:ext>
            </a:extLst>
          </p:cNvPr>
          <p:cNvSpPr txBox="1"/>
          <p:nvPr/>
        </p:nvSpPr>
        <p:spPr>
          <a:xfrm>
            <a:off x="4133341" y="5290129"/>
            <a:ext cx="23762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>
                <a:solidFill>
                  <a:srgbClr val="002060"/>
                </a:solidFill>
              </a:rPr>
              <a:t>Katalog med samme boligtype:</a:t>
            </a:r>
          </a:p>
          <a:p>
            <a:endParaRPr lang="da-DK" sz="1100" dirty="0">
              <a:solidFill>
                <a:srgbClr val="002060"/>
              </a:solidFill>
            </a:endParaRPr>
          </a:p>
          <a:p>
            <a:r>
              <a:rPr lang="da-DK" sz="1100" dirty="0">
                <a:solidFill>
                  <a:srgbClr val="002060"/>
                </a:solidFill>
              </a:rPr>
              <a:t>Sommerhus  </a:t>
            </a:r>
          </a:p>
          <a:p>
            <a:endParaRPr lang="da-DK" sz="11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5738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7945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BA: Fremhævet tekst og billede + flere visninger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sp>
        <p:nvSpPr>
          <p:cNvPr id="29" name="Rektangel 54">
            <a:extLst>
              <a:ext uri="{FF2B5EF4-FFF2-40B4-BE49-F238E27FC236}">
                <a16:creationId xmlns:a16="http://schemas.microsoft.com/office/drawing/2014/main" id="{6B5BC89A-0491-A8DA-85D2-648AB908D2B2}"/>
              </a:ext>
            </a:extLst>
          </p:cNvPr>
          <p:cNvSpPr/>
          <p:nvPr/>
        </p:nvSpPr>
        <p:spPr>
          <a:xfrm>
            <a:off x="1009291" y="5793759"/>
            <a:ext cx="4071466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Bolig kategoriside 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2" name="Picture 3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87F512E-1427-F80F-3F92-8B80730C38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521" y="1322360"/>
            <a:ext cx="5756715" cy="4421476"/>
          </a:xfrm>
          <a:prstGeom prst="rect">
            <a:avLst/>
          </a:prstGeom>
        </p:spPr>
      </p:pic>
      <p:pic>
        <p:nvPicPr>
          <p:cNvPr id="40" name="Picture 39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623195FC-10F9-ED01-8693-D93F0B10B05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8801" y="1963266"/>
            <a:ext cx="5510592" cy="4232441"/>
          </a:xfrm>
          <a:prstGeom prst="rect">
            <a:avLst/>
          </a:prstGeom>
        </p:spPr>
      </p:pic>
      <p:sp>
        <p:nvSpPr>
          <p:cNvPr id="33" name="Rektangel 54">
            <a:extLst>
              <a:ext uri="{FF2B5EF4-FFF2-40B4-BE49-F238E27FC236}">
                <a16:creationId xmlns:a16="http://schemas.microsoft.com/office/drawing/2014/main" id="{0C82FD7B-386E-B5E1-ABC8-C05053E96B28}"/>
              </a:ext>
            </a:extLst>
          </p:cNvPr>
          <p:cNvSpPr/>
          <p:nvPr/>
        </p:nvSpPr>
        <p:spPr>
          <a:xfrm>
            <a:off x="6544903" y="5790883"/>
            <a:ext cx="4071466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Listevisning 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E2F188-63BB-9958-5D17-938BC4D1D453}"/>
              </a:ext>
            </a:extLst>
          </p:cNvPr>
          <p:cNvSpPr txBox="1"/>
          <p:nvPr/>
        </p:nvSpPr>
        <p:spPr>
          <a:xfrm>
            <a:off x="6367582" y="1193825"/>
            <a:ext cx="318185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>
                <a:solidFill>
                  <a:srgbClr val="002060"/>
                </a:solidFill>
              </a:rPr>
              <a:t>Der ønskes eksempler indsat i desktop og mobil. </a:t>
            </a:r>
          </a:p>
          <a:p>
            <a:endParaRPr lang="da-DK" sz="11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9775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959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BA boligvisningside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pic>
        <p:nvPicPr>
          <p:cNvPr id="24" name="Picture 23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3D4FF13B-3476-6226-229F-4A43D2858D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718" y="1673849"/>
            <a:ext cx="6236379" cy="3313076"/>
          </a:xfrm>
          <a:prstGeom prst="rect">
            <a:avLst/>
          </a:prstGeom>
        </p:spPr>
      </p:pic>
      <p:pic>
        <p:nvPicPr>
          <p:cNvPr id="2" name="Picture 1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569232D9-28CD-DE73-7932-748B2CED70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04074" y="1676813"/>
            <a:ext cx="6493181" cy="3449502"/>
          </a:xfrm>
          <a:prstGeom prst="rect">
            <a:avLst/>
          </a:prstGeom>
        </p:spPr>
      </p:pic>
      <p:sp>
        <p:nvSpPr>
          <p:cNvPr id="3" name="Rektangel 54">
            <a:extLst>
              <a:ext uri="{FF2B5EF4-FFF2-40B4-BE49-F238E27FC236}">
                <a16:creationId xmlns:a16="http://schemas.microsoft.com/office/drawing/2014/main" id="{998BF579-8DD6-B855-A065-EE21799179EF}"/>
              </a:ext>
            </a:extLst>
          </p:cNvPr>
          <p:cNvSpPr/>
          <p:nvPr/>
        </p:nvSpPr>
        <p:spPr>
          <a:xfrm>
            <a:off x="-89647" y="4768897"/>
            <a:ext cx="12308541" cy="745511"/>
          </a:xfrm>
          <a:prstGeom prst="rect">
            <a:avLst/>
          </a:prstGeom>
          <a:solidFill>
            <a:srgbClr val="FFFFFF"/>
          </a:solidFill>
          <a:ln w="158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mhævet tekstbanner 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100" dirty="0">
                <a:solidFill>
                  <a:schemeClr val="accent3">
                    <a:lumMod val="75000"/>
                  </a:schemeClr>
                </a:solidFill>
                <a:latin typeface="Arial"/>
              </a:rPr>
              <a:t>B</a:t>
            </a:r>
            <a:r>
              <a:rPr kumimoji="0" lang="da-DK" sz="11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igvisningsside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A1B8EE-F9F7-0912-3BD1-1DE61F97459C}"/>
              </a:ext>
            </a:extLst>
          </p:cNvPr>
          <p:cNvSpPr txBox="1"/>
          <p:nvPr/>
        </p:nvSpPr>
        <p:spPr>
          <a:xfrm>
            <a:off x="6721265" y="988638"/>
            <a:ext cx="318185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>
                <a:solidFill>
                  <a:srgbClr val="002060"/>
                </a:solidFill>
              </a:rPr>
              <a:t>Der ønskes eksempler indsat i desktop og mobil. </a:t>
            </a:r>
          </a:p>
          <a:p>
            <a:endParaRPr lang="da-DK" sz="11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162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757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42">
            <a:extLst>
              <a:ext uri="{FF2B5EF4-FFF2-40B4-BE49-F238E27FC236}">
                <a16:creationId xmlns:a16="http://schemas.microsoft.com/office/drawing/2014/main" id="{26F14B1A-84F7-466D-9573-CC8749B6806F}"/>
              </a:ext>
            </a:extLst>
          </p:cNvPr>
          <p:cNvCxnSpPr>
            <a:cxnSpLocks/>
          </p:cNvCxnSpPr>
          <p:nvPr/>
        </p:nvCxnSpPr>
        <p:spPr>
          <a:xfrm>
            <a:off x="918139" y="856288"/>
            <a:ext cx="8012009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3839"/>
            <a:ext cx="10363200" cy="817561"/>
          </a:xfrm>
        </p:spPr>
        <p:txBody>
          <a:bodyPr vert="horz"/>
          <a:lstStyle/>
          <a:p>
            <a:pPr algn="l"/>
            <a:r>
              <a:rPr lang="da-DK" sz="2800" dirty="0">
                <a:solidFill>
                  <a:schemeClr val="accent3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oliga forside    </a:t>
            </a:r>
            <a:endParaRPr lang="da-DK" sz="54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3577" y="6497364"/>
            <a:ext cx="766023" cy="233637"/>
          </a:xfrm>
          <a:prstGeom prst="rect">
            <a:avLst/>
          </a:prstGeom>
        </p:spPr>
      </p:pic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AD1D19D-6224-800D-F1A6-338B263C62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4216" y="2195702"/>
            <a:ext cx="9658377" cy="334448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84C666A-6845-5877-F3C0-9648475FDFD1}"/>
              </a:ext>
            </a:extLst>
          </p:cNvPr>
          <p:cNvSpPr txBox="1"/>
          <p:nvPr/>
        </p:nvSpPr>
        <p:spPr>
          <a:xfrm>
            <a:off x="7868578" y="1041400"/>
            <a:ext cx="318185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>
                <a:solidFill>
                  <a:srgbClr val="002060"/>
                </a:solidFill>
              </a:rPr>
              <a:t>Denne ønskes indsat på boliga.dk forsiden – desktop og mobil. </a:t>
            </a:r>
          </a:p>
          <a:p>
            <a:endParaRPr lang="da-DK" sz="1100" dirty="0">
              <a:solidFill>
                <a:srgbClr val="002060"/>
              </a:solidFill>
            </a:endParaRPr>
          </a:p>
          <a:p>
            <a:endParaRPr lang="da-DK" sz="1100" dirty="0">
              <a:solidFill>
                <a:srgbClr val="002060"/>
              </a:solidFill>
            </a:endParaRPr>
          </a:p>
          <a:p>
            <a:r>
              <a:rPr lang="da-DK" sz="1100" dirty="0">
                <a:solidFill>
                  <a:srgbClr val="002060"/>
                </a:solidFill>
              </a:rPr>
              <a:t>Der ønskes eksempler indsat i desktop og mobil. </a:t>
            </a:r>
          </a:p>
          <a:p>
            <a:endParaRPr lang="da-DK" sz="1100" dirty="0">
              <a:solidFill>
                <a:srgbClr val="002060"/>
              </a:solidFill>
            </a:endParaRPr>
          </a:p>
          <a:p>
            <a:endParaRPr lang="da-DK" sz="11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459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KwxRjJEPmnY_WbU42F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KwxRjJEPmnY_WbU42F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DC 1">
  <a:themeElements>
    <a:clrScheme name="EDC">
      <a:dk1>
        <a:srgbClr val="0D2E4D"/>
      </a:dk1>
      <a:lt1>
        <a:srgbClr val="FFFFFF"/>
      </a:lt1>
      <a:dk2>
        <a:srgbClr val="164573"/>
      </a:dk2>
      <a:lt2>
        <a:srgbClr val="F3F7F7"/>
      </a:lt2>
      <a:accent1>
        <a:srgbClr val="164573"/>
      </a:accent1>
      <a:accent2>
        <a:srgbClr val="5E7C9A"/>
      </a:accent2>
      <a:accent3>
        <a:srgbClr val="93B0CD"/>
      </a:accent3>
      <a:accent4>
        <a:srgbClr val="D2DFE0"/>
      </a:accent4>
      <a:accent5>
        <a:srgbClr val="555555"/>
      </a:accent5>
      <a:accent6>
        <a:srgbClr val="878787"/>
      </a:accent6>
      <a:hlink>
        <a:srgbClr val="4DC3D3"/>
      </a:hlink>
      <a:folHlink>
        <a:srgbClr val="93B0CD"/>
      </a:folHlink>
    </a:clrScheme>
    <a:fontScheme name="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5875">
          <a:noFill/>
        </a:ln>
        <a:effectLst>
          <a:outerShdw blurRad="127000" dist="50800" dir="5400000" algn="ctr" rotWithShape="0">
            <a:srgbClr val="000000">
              <a:alpha val="20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mpd="sng">
          <a:solidFill>
            <a:schemeClr val="accent4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807F8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DC_Præsentation_v1.5" id="{DBD6848D-CC29-0D4E-8486-33412CA37388}" vid="{CE9E7E15-7F81-2149-BC75-97478FEAFE29}"/>
    </a:ext>
  </a:extLst>
</a:theme>
</file>

<file path=ppt/theme/theme2.xml><?xml version="1.0" encoding="utf-8"?>
<a:theme xmlns:a="http://schemas.openxmlformats.org/drawingml/2006/main" name="1_EDC 1">
  <a:themeElements>
    <a:clrScheme name="EDC">
      <a:dk1>
        <a:srgbClr val="0D2E4D"/>
      </a:dk1>
      <a:lt1>
        <a:srgbClr val="FFFFFF"/>
      </a:lt1>
      <a:dk2>
        <a:srgbClr val="164573"/>
      </a:dk2>
      <a:lt2>
        <a:srgbClr val="F3F7F7"/>
      </a:lt2>
      <a:accent1>
        <a:srgbClr val="164573"/>
      </a:accent1>
      <a:accent2>
        <a:srgbClr val="5E7C9A"/>
      </a:accent2>
      <a:accent3>
        <a:srgbClr val="93B0CD"/>
      </a:accent3>
      <a:accent4>
        <a:srgbClr val="D2DFE0"/>
      </a:accent4>
      <a:accent5>
        <a:srgbClr val="555555"/>
      </a:accent5>
      <a:accent6>
        <a:srgbClr val="878787"/>
      </a:accent6>
      <a:hlink>
        <a:srgbClr val="4DC3D3"/>
      </a:hlink>
      <a:folHlink>
        <a:srgbClr val="93B0CD"/>
      </a:folHlink>
    </a:clrScheme>
    <a:fontScheme name="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5875">
          <a:noFill/>
        </a:ln>
        <a:effectLst>
          <a:outerShdw blurRad="127000" dist="50800" dir="5400000" algn="ctr" rotWithShape="0">
            <a:srgbClr val="000000">
              <a:alpha val="20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mpd="sng">
          <a:solidFill>
            <a:schemeClr val="accent4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807F8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DC_Præsentation_v1.5" id="{DBD6848D-CC29-0D4E-8486-33412CA37388}" vid="{CE9E7E15-7F81-2149-BC75-97478FEAFE2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</TotalTime>
  <Words>239</Words>
  <Application>Microsoft Macintosh PowerPoint</Application>
  <PresentationFormat>Widescreen</PresentationFormat>
  <Paragraphs>72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Lato</vt:lpstr>
      <vt:lpstr>Manus</vt:lpstr>
      <vt:lpstr>Roboto Condensed Light</vt:lpstr>
      <vt:lpstr>Wingdings</vt:lpstr>
      <vt:lpstr>EDC 1</vt:lpstr>
      <vt:lpstr>1_EDC 1</vt:lpstr>
      <vt:lpstr>think-cell Slide</vt:lpstr>
      <vt:lpstr>Boliga Marketingpakker </vt:lpstr>
      <vt:lpstr>SoMe katalog (der ønskes der udgaver)  </vt:lpstr>
      <vt:lpstr>DBA: Fremhævet tekst og billede + flere visninger  </vt:lpstr>
      <vt:lpstr>DBA boligvisningside  </vt:lpstr>
      <vt:lpstr>Boliga forside 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Sønderstrup</dc:creator>
  <cp:lastModifiedBy>Thomas Sønderstrup</cp:lastModifiedBy>
  <cp:revision>13</cp:revision>
  <cp:lastPrinted>2023-03-15T14:12:25Z</cp:lastPrinted>
  <dcterms:created xsi:type="dcterms:W3CDTF">2023-03-15T14:08:35Z</dcterms:created>
  <dcterms:modified xsi:type="dcterms:W3CDTF">2023-03-27T13:57:54Z</dcterms:modified>
</cp:coreProperties>
</file>